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notesSlides/notesSlide15.xml" ContentType="application/vnd.openxmlformats-officedocument.presentationml.notesSlide+xml"/>
  <Override PartName="/ppt/tags/tag19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6" r:id="rId2"/>
    <p:sldId id="309" r:id="rId3"/>
    <p:sldId id="310" r:id="rId4"/>
    <p:sldId id="314" r:id="rId5"/>
    <p:sldId id="311" r:id="rId6"/>
    <p:sldId id="312" r:id="rId7"/>
    <p:sldId id="316" r:id="rId8"/>
    <p:sldId id="321" r:id="rId9"/>
    <p:sldId id="277" r:id="rId10"/>
    <p:sldId id="313" r:id="rId11"/>
    <p:sldId id="291" r:id="rId12"/>
    <p:sldId id="317" r:id="rId13"/>
    <p:sldId id="294" r:id="rId14"/>
    <p:sldId id="319" r:id="rId15"/>
    <p:sldId id="318" r:id="rId16"/>
    <p:sldId id="320" r:id="rId17"/>
    <p:sldId id="274" r:id="rId18"/>
  </p:sldIdLst>
  <p:sldSz cx="12192000" cy="6858000"/>
  <p:notesSz cx="6645275" cy="992505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8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66"/>
    <a:srgbClr val="558B2F"/>
    <a:srgbClr val="2F52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93" autoAdjust="0"/>
    <p:restoredTop sz="86767" autoAdjust="0"/>
  </p:normalViewPr>
  <p:slideViewPr>
    <p:cSldViewPr snapToGrid="0" showGuides="1">
      <p:cViewPr varScale="1">
        <p:scale>
          <a:sx n="75" d="100"/>
          <a:sy n="75" d="100"/>
        </p:scale>
        <p:origin x="1032" y="58"/>
      </p:cViewPr>
      <p:guideLst>
        <p:guide orient="horz" pos="98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79619" cy="497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64118" y="0"/>
            <a:ext cx="2879619" cy="497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F45644-25B0-4B1C-AB51-090BDADC424F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444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4528" y="4776431"/>
            <a:ext cx="5316220" cy="3907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7076"/>
            <a:ext cx="2879619" cy="4979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64118" y="9427076"/>
            <a:ext cx="2879619" cy="4979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E990FF-1997-45A9-A406-208ADB070B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85028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942422-0A2D-715E-78BB-B28849E40F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3242A44-440E-ECB8-4603-D738E64A03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8023F98-CA35-2C90-DF1B-239804286A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78CE8B-2E65-F064-AF7F-735EECA72E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E990FF-1997-45A9-A406-208ADB070BC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599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E990FF-1997-45A9-A406-208ADB070BC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83196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96ED38-F676-3CE7-7A85-9CDB7CB526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B1E510-8C1F-7ABF-0DE9-23B5F0B0FC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C627974-05F4-10AF-8F6D-19C333C2F65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9E4302-7C82-CA23-318B-3EC762BC29B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E990FF-1997-45A9-A406-208ADB070BC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6021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E990FF-1997-45A9-A406-208ADB070B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39488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F1E956-330C-06D8-7A73-26F74EA9A9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765605-F2F1-4DD8-D418-49518CB0E5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D7B3E1D-D79D-8BC5-8A12-8DB1247EB3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3ED1EF-BCB7-AC70-3836-4481CA3D04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E990FF-1997-45A9-A406-208ADB070B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62018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78A21E-5C4D-E6A3-524D-EDFE16167F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87563FF-BFB0-4113-9876-66847D5BBF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A0413A6-9010-48FD-7F98-CC9E5EFF92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519C50-D419-ECEC-4F8B-4B6C5CB133B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E990FF-1997-45A9-A406-208ADB070B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8417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1F84FA-6830-90CA-8604-4EFA80CB5D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96A43CA-9481-E278-B38D-D791141DB4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D6D618-B013-C786-F8A6-54C3CC7A1EE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B8F1D5-C4B4-AB47-043F-32603D33B1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E990FF-1997-45A9-A406-208ADB070B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00642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hu-HU" sz="4000" b="0" i="0" dirty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E990FF-1997-45A9-A406-208ADB070BC6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288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B5EC36-6A67-8C66-2B8A-D5F499F4FB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79D6213-FB48-149E-437A-C0D0704C0C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729854F-30B9-F008-7907-A41503CF43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8DBBD1-1EE7-4A69-6FD8-C10FC4E21C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E990FF-1997-45A9-A406-208ADB070BC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42907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573DBC-2B8E-D977-D491-4E3C89B9DF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71FA35E-F9C0-5B36-83F3-CCF70B59BA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BCBAA1-DE96-1363-219E-31206892A8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23220F-FF61-B97B-849A-829020F4980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E990FF-1997-45A9-A406-208ADB070BC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7417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E21139-FA31-2333-C6EC-A88E04E78D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7548436-D70F-B6B4-2980-5B113CB8ABF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4843366-D38E-045D-354E-3D1D9BD571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CD722D-BF68-65A2-52A8-87DA411994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E990FF-1997-45A9-A406-208ADB070BC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7349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701C65-4ECC-DEC3-0CF5-7D9DCCC518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A9002C-6366-E327-8C45-ECD0629494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C4DFC77-69B0-0A74-D4A5-285C8AE4AC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07E810-7CD6-0FEE-19EC-C018AED075D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E990FF-1997-45A9-A406-208ADB070BC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51566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F4676F-42ED-1B94-6013-C354E07D46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33470CC-9E22-0335-49AA-8948145A74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F2855DD-B942-3B9E-5747-9B4A039708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87A14D-D47E-9974-0DB3-939FE47521B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E990FF-1997-45A9-A406-208ADB070BC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7154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84CD8D-5A1E-F04D-13A3-8CF267F96A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8C7CD5-DF3A-7468-DFAD-7D01A8AF88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7AE7BCA-6A98-0856-6781-0601A75E62E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2DB2C2-BE28-030D-01A3-FEC97DE77B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E990FF-1997-45A9-A406-208ADB070BC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7095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E990FF-1997-45A9-A406-208ADB070BC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0600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FD2AC4-D530-6970-B441-1F712109E1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947399A-32A1-AC35-38E8-2FEBBD27EA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9108AFD-DB71-EFA8-D93B-E7830AA658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892890-C04B-EAAA-449C-91948BC659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E990FF-1997-45A9-A406-208ADB070BC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20838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B4E599-B568-4404-8888-6927370364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1E6B380-D22E-4079-8025-04A1C432799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5D4FFE-40DE-481D-B340-165B1929E1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947422-31B7-4CAD-8E46-D178C649593C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A05CB9-EEE7-40CA-B461-DBE9E1D2AE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B1CBD1-A313-430E-9DC7-DFFCA67F1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8EE5B-ED17-40D7-A348-D3DEA4D023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5583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7546F5-D6AD-4336-88F1-645C3DF70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0C58A34-C153-4CFC-B53A-4DBC2C3087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710CF1-34E0-465F-9B7B-05D98E7268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947422-31B7-4CAD-8E46-D178C649593C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BF5065-AEA8-4397-925F-6AB8E29940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30E85A-6A40-4D96-AC41-B01F9C6E6F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8EE5B-ED17-40D7-A348-D3DEA4D023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988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C228E5-4238-4F7E-89C0-488AD333879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F415B6E-BC57-4E2C-93AE-E6B596177B6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90A57B-2186-48F5-A8C0-E70CE86F41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947422-31B7-4CAD-8E46-D178C649593C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9CA51C-CAF9-42DE-81D4-5C49E90B38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23FDAD-9F63-4254-9F42-4EC9F88527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8EE5B-ED17-40D7-A348-D3DEA4D023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45028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6D74C3-5E61-44B5-9684-805075A943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70C9DA-D60C-4494-9037-9FAE09C56D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5DC275-2297-4D3F-A364-6E65128923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947422-31B7-4CAD-8E46-D178C649593C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ACFCA0-82B7-4684-8403-F2EC83B51F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E5A090-1C4B-417E-8BC5-18E160DAE6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8EE5B-ED17-40D7-A348-D3DEA4D023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220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3B660E-C97C-4506-93C0-9B0ECF69B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FE47C5-8E6B-483A-BE26-75DFDADFB3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F8C1BA-2CAD-41A0-9DEA-586571F86E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947422-31B7-4CAD-8E46-D178C649593C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309E32-E97B-462B-A060-63DA4B7C53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0E510A-3529-4A6B-A594-70C5283BEB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8EE5B-ED17-40D7-A348-D3DEA4D023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18941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861CE8-F00F-4C0B-9C93-216D68C769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13E6EC-0F84-428F-B6A1-EC1AE4355D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693F3C-69AF-4A50-9AE1-E57FE16952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68825A-984D-4D1F-BC0F-5D3B6B218E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947422-31B7-4CAD-8E46-D178C649593C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4DD993-B326-4DEC-AD94-0BBB214413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473864F-A20C-4108-9FFB-78E0DC0AB0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8EE5B-ED17-40D7-A348-D3DEA4D023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66088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E14C2D-9E24-44F4-84CD-70A9C2BFB5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AA3C45-C6BF-4916-90C0-B338A2E96E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F47B209-CD54-441D-AF59-C5E375791B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846964E-7AE3-484F-A495-D0E34EC73C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AF1B7CA-BBE3-4AB2-9904-7F2464EEAD0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846EEAB-105E-4260-B13F-D1AEB3F39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947422-31B7-4CAD-8E46-D178C649593C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E5E396-07D9-46DA-9A9D-09F91145B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767107D-3BC1-442E-AE6D-60ABD1AA3A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8EE5B-ED17-40D7-A348-D3DEA4D023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6933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2596B1-35B3-4DD9-B434-9AB2D8C628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E743A1-E3B3-45AB-9F16-936480A7FB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947422-31B7-4CAD-8E46-D178C649593C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6CB806-6DBF-42A1-AB51-11BBED15A1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79052B-53B5-4FCD-804D-FDC0680345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8EE5B-ED17-40D7-A348-D3DEA4D023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22528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69C5DA-7993-4BA8-BD1A-EF7A335C0B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947422-31B7-4CAD-8E46-D178C649593C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C8D6AA5-CB54-4B1C-A57D-2D48B46458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B4B615-EE97-446B-9B33-A020644638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8EE5B-ED17-40D7-A348-D3DEA4D023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4462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F702F4-15C6-4353-B848-59EE80771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49A879-C5D5-46FB-977E-B32DB00A31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D0BD1D-5329-448F-938F-61A656AAC0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484650-03AC-4DC6-9A01-187589BD2F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947422-31B7-4CAD-8E46-D178C649593C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E168430-9FB8-46FD-B6DD-46F670B091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5A5A1F-3A9E-4A07-AEFC-4800B73424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8EE5B-ED17-40D7-A348-D3DEA4D023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5920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ABF286-69E1-42B1-BCCE-DE115C38CB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C385C74-A1F1-414E-A1E8-DADD45DDC42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FADD9B-5E67-41BF-850C-1391926FA5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0D667E-8F9E-459C-BC60-25674218B8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947422-31B7-4CAD-8E46-D178C649593C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AFD6EA-6A9F-4C36-9236-3D2DCD798B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9425C6-ABCE-4415-8211-D2BC13A436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8EE5B-ED17-40D7-A348-D3DEA4D023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85826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D8147C1-1485-4890-9A7C-AF0EA229D0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33934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45" imgH="245" progId="TCLayout.ActiveDocument.1">
                  <p:embed/>
                </p:oleObj>
              </mc:Choice>
              <mc:Fallback>
                <p:oleObj name="think-cell Slide" r:id="rId14" imgW="245" imgH="2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D8147C1-1485-4890-9A7C-AF0EA229D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60F466A-F01F-4E99-BCDC-3379204F0C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B4B8C8-558F-48D2-8662-06EE890E4B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1EE841-E933-4982-A180-A69A8CE7B9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947422-31B7-4CAD-8E46-D178C649593C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FF54EA-912D-48C1-9774-9DC23C8586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A7B749-2BF4-4158-B161-E3ADF08A7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88EE5B-ED17-40D7-A348-D3DEA4D023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572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JP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image" Target="../media/image3.JPG"/><Relationship Id="rId11" Type="http://schemas.openxmlformats.org/officeDocument/2006/relationships/image" Target="../media/image17.png"/><Relationship Id="rId5" Type="http://schemas.openxmlformats.org/officeDocument/2006/relationships/image" Target="../media/image1.emf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19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2.jp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10" Type="http://schemas.openxmlformats.org/officeDocument/2006/relationships/image" Target="../media/image24.jpe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23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25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Relationship Id="rId9" Type="http://schemas.openxmlformats.org/officeDocument/2006/relationships/image" Target="../media/image2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3.JPG"/><Relationship Id="rId11" Type="http://schemas.openxmlformats.org/officeDocument/2006/relationships/image" Target="../media/image10.jpeg"/><Relationship Id="rId5" Type="http://schemas.openxmlformats.org/officeDocument/2006/relationships/image" Target="../media/image1.emf"/><Relationship Id="rId10" Type="http://schemas.openxmlformats.org/officeDocument/2006/relationships/image" Target="../media/image9.jpeg"/><Relationship Id="rId4" Type="http://schemas.openxmlformats.org/officeDocument/2006/relationships/oleObject" Target="../embeddings/oleObject5.bin"/><Relationship Id="rId9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E5468C4-EF10-4090-A5DD-AB361CE3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6937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E5468C4-EF10-4090-A5DD-AB361CE3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26EA90A2-F73B-4AF5-BD36-3F185DE8579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60325">
            <a:solidFill>
              <a:srgbClr val="558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Kép 7" descr="A képen kültéri, fa, felhő, ég látható&#10;&#10;Automatikusan generált leírás">
            <a:extLst>
              <a:ext uri="{FF2B5EF4-FFF2-40B4-BE49-F238E27FC236}">
                <a16:creationId xmlns:a16="http://schemas.microsoft.com/office/drawing/2014/main" id="{18F8EF06-5553-DB25-9A69-180CC107D6F8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8">
            <a:extLst>
              <a:ext uri="{FF2B5EF4-FFF2-40B4-BE49-F238E27FC236}">
                <a16:creationId xmlns:a16="http://schemas.microsoft.com/office/drawing/2014/main" id="{F46540A6-AD53-DC33-358B-63E9F7F958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913" y="83334"/>
            <a:ext cx="1540869" cy="1913769"/>
          </a:xfrm>
          <a:prstGeom prst="rect">
            <a:avLst/>
          </a:prstGeom>
          <a:effectLst>
            <a:softEdge rad="76200"/>
          </a:effectLst>
        </p:spPr>
      </p:pic>
      <p:sp>
        <p:nvSpPr>
          <p:cNvPr id="12" name="TextBox 9">
            <a:extLst>
              <a:ext uri="{FF2B5EF4-FFF2-40B4-BE49-F238E27FC236}">
                <a16:creationId xmlns:a16="http://schemas.microsoft.com/office/drawing/2014/main" id="{B213D726-6210-DAEB-8132-4A9611CEF534}"/>
              </a:ext>
            </a:extLst>
          </p:cNvPr>
          <p:cNvSpPr txBox="1"/>
          <p:nvPr/>
        </p:nvSpPr>
        <p:spPr>
          <a:xfrm>
            <a:off x="180497" y="211643"/>
            <a:ext cx="5382905" cy="66171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3200" b="1" dirty="0">
                <a:latin typeface="Century Gothic" panose="020B0502020202020204" pitchFamily="34" charset="0"/>
              </a:rPr>
              <a:t>Beruházások </a:t>
            </a:r>
          </a:p>
          <a:p>
            <a:pPr algn="ctr"/>
            <a:r>
              <a:rPr lang="hu-HU" sz="2800" b="1" dirty="0">
                <a:latin typeface="Century Gothic" panose="020B0502020202020204" pitchFamily="34" charset="0"/>
              </a:rPr>
              <a:t>és fejlesztések Szadán</a:t>
            </a:r>
          </a:p>
          <a:p>
            <a:pPr algn="ctr"/>
            <a:r>
              <a:rPr lang="hu-HU" sz="2800" b="1" dirty="0">
                <a:latin typeface="Century Gothic" panose="020B0502020202020204" pitchFamily="34" charset="0"/>
              </a:rPr>
              <a:t>2023-2024</a:t>
            </a:r>
          </a:p>
          <a:p>
            <a:pPr algn="ctr"/>
            <a:endParaRPr lang="hu-HU" sz="2800" b="1" dirty="0">
              <a:latin typeface="Century Gothic" panose="020B0502020202020204" pitchFamily="34" charset="0"/>
            </a:endParaRPr>
          </a:p>
          <a:p>
            <a:pPr algn="ctr"/>
            <a:r>
              <a:rPr lang="en-US" sz="2800" b="1" dirty="0">
                <a:latin typeface="Century Gothic" panose="020B0502020202020204" pitchFamily="34" charset="0"/>
              </a:rPr>
              <a:t>202</a:t>
            </a:r>
            <a:r>
              <a:rPr lang="hu-HU" sz="2800" b="1" dirty="0">
                <a:latin typeface="Century Gothic" panose="020B0502020202020204" pitchFamily="34" charset="0"/>
              </a:rPr>
              <a:t>4</a:t>
            </a:r>
            <a:r>
              <a:rPr lang="en-US" sz="2800" b="1" dirty="0">
                <a:latin typeface="Century Gothic" panose="020B0502020202020204" pitchFamily="34" charset="0"/>
              </a:rPr>
              <a:t>. </a:t>
            </a:r>
            <a:r>
              <a:rPr lang="hu-HU" sz="2800" b="1" dirty="0">
                <a:latin typeface="Century Gothic" panose="020B0502020202020204" pitchFamily="34" charset="0"/>
              </a:rPr>
              <a:t>október 31.</a:t>
            </a:r>
            <a:r>
              <a:rPr lang="en-US" sz="2800" b="1" dirty="0">
                <a:latin typeface="Century Gothic" panose="020B0502020202020204" pitchFamily="34" charset="0"/>
              </a:rPr>
              <a:t> </a:t>
            </a:r>
          </a:p>
          <a:p>
            <a:pPr algn="ctr"/>
            <a:endParaRPr lang="hu-HU" sz="2800" b="1" dirty="0">
              <a:latin typeface="Century Gothic" panose="020B0502020202020204" pitchFamily="34" charset="0"/>
            </a:endParaRPr>
          </a:p>
          <a:p>
            <a:pPr algn="ctr"/>
            <a:endParaRPr lang="hu-HU" sz="2800" b="1" dirty="0">
              <a:latin typeface="Century Gothic" panose="020B0502020202020204" pitchFamily="34" charset="0"/>
            </a:endParaRPr>
          </a:p>
          <a:p>
            <a:pPr algn="ctr"/>
            <a:endParaRPr lang="hu-HU" sz="2800" b="1" dirty="0">
              <a:latin typeface="Century Gothic" panose="020B0502020202020204" pitchFamily="34" charset="0"/>
            </a:endParaRPr>
          </a:p>
          <a:p>
            <a:pPr algn="ctr"/>
            <a:endParaRPr lang="hu-HU" sz="2800" b="1" dirty="0">
              <a:latin typeface="Century Gothic" panose="020B0502020202020204" pitchFamily="34" charset="0"/>
            </a:endParaRPr>
          </a:p>
          <a:p>
            <a:pPr algn="ctr"/>
            <a:endParaRPr lang="hu-HU" sz="2800" b="1" dirty="0">
              <a:latin typeface="Century Gothic" panose="020B0502020202020204" pitchFamily="34" charset="0"/>
            </a:endParaRPr>
          </a:p>
          <a:p>
            <a:pPr algn="ctr"/>
            <a:endParaRPr lang="hu-HU" sz="2800" b="1" dirty="0">
              <a:latin typeface="Century Gothic" panose="020B0502020202020204" pitchFamily="34" charset="0"/>
            </a:endParaRPr>
          </a:p>
          <a:p>
            <a:pPr algn="ctr"/>
            <a:endParaRPr lang="hu-HU" sz="2800" b="1" dirty="0">
              <a:latin typeface="Century Gothic" panose="020B0502020202020204" pitchFamily="34" charset="0"/>
            </a:endParaRPr>
          </a:p>
          <a:p>
            <a:pPr algn="ctr"/>
            <a:endParaRPr lang="hu-HU" sz="2800" b="1" dirty="0">
              <a:latin typeface="Century Gothic" panose="020B0502020202020204" pitchFamily="34" charset="0"/>
            </a:endParaRPr>
          </a:p>
          <a:p>
            <a:pPr algn="ctr"/>
            <a:endParaRPr lang="hu-HU" sz="2800" b="1" dirty="0">
              <a:latin typeface="Century Gothic" panose="020B0502020202020204" pitchFamily="34" charset="0"/>
            </a:endParaRPr>
          </a:p>
          <a:p>
            <a:pPr algn="ctr"/>
            <a:endParaRPr lang="hu-HU" sz="2800" b="1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67203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9A2AC0-0276-F3B4-D1CB-2E0BD857B0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171B2A-8C09-1910-4278-EC477186E0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E5468C4-EF10-4090-A5DD-AB361CE3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079FDD6E-B3BE-564D-6B0D-B5C3135F12A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60325">
            <a:solidFill>
              <a:srgbClr val="558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CC13DDF-8438-7078-7E92-4B324D5249B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" y="5833260"/>
            <a:ext cx="745590" cy="931881"/>
          </a:xfrm>
          <a:prstGeom prst="rect">
            <a:avLst/>
          </a:prstGeom>
          <a:effectLst>
            <a:softEdge rad="76200"/>
          </a:effec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A70EDB4-649F-81FB-9E09-CC7305B08B65}"/>
              </a:ext>
            </a:extLst>
          </p:cNvPr>
          <p:cNvCxnSpPr/>
          <p:nvPr/>
        </p:nvCxnSpPr>
        <p:spPr>
          <a:xfrm>
            <a:off x="243840" y="5740400"/>
            <a:ext cx="11653520" cy="0"/>
          </a:xfrm>
          <a:prstGeom prst="line">
            <a:avLst/>
          </a:prstGeom>
          <a:ln w="41275">
            <a:solidFill>
              <a:srgbClr val="558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7FB3A78B-7C09-B925-4422-D8A3AEA74601}"/>
              </a:ext>
            </a:extLst>
          </p:cNvPr>
          <p:cNvSpPr txBox="1"/>
          <p:nvPr/>
        </p:nvSpPr>
        <p:spPr>
          <a:xfrm>
            <a:off x="1780575" y="6153447"/>
            <a:ext cx="8580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800" b="1" dirty="0">
                <a:latin typeface="Century Gothic" panose="020B0502020202020204" pitchFamily="34" charset="0"/>
              </a:rPr>
              <a:t>Közmeghallgatás – 2024. október </a:t>
            </a:r>
            <a:r>
              <a:rPr lang="hu-HU" b="1" dirty="0">
                <a:latin typeface="Century Gothic" panose="020B0502020202020204" pitchFamily="34" charset="0"/>
              </a:rPr>
              <a:t>31</a:t>
            </a:r>
            <a:r>
              <a:rPr lang="hu-HU" sz="1800" b="1" dirty="0">
                <a:latin typeface="Century Gothic" panose="020B0502020202020204" pitchFamily="34" charset="0"/>
              </a:rPr>
              <a:t>.  </a:t>
            </a:r>
            <a:endParaRPr lang="en-US" sz="1800" b="1" dirty="0">
              <a:latin typeface="Century Gothic" panose="020B0502020202020204" pitchFamily="34" charset="0"/>
            </a:endParaRPr>
          </a:p>
        </p:txBody>
      </p:sp>
      <p:sp>
        <p:nvSpPr>
          <p:cNvPr id="63" name="Text Box 16">
            <a:extLst>
              <a:ext uri="{FF2B5EF4-FFF2-40B4-BE49-F238E27FC236}">
                <a16:creationId xmlns:a16="http://schemas.microsoft.com/office/drawing/2014/main" id="{0FF27680-AFB8-61BA-BDC7-4A7B7E7875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3840" y="1267799"/>
            <a:ext cx="4518880" cy="463017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  <a:buClr>
                <a:schemeClr val="bg1">
                  <a:lumMod val="50000"/>
                </a:schemeClr>
              </a:buClr>
              <a:buSzPct val="50000"/>
            </a:pPr>
            <a:r>
              <a:rPr lang="hu-HU" altLang="zh-CN" sz="2000" b="1" dirty="0">
                <a:latin typeface="Century Gothic" panose="020B0502020202020204" pitchFamily="34" charset="0"/>
                <a:cs typeface="Calibri" pitchFamily="34" charset="0"/>
              </a:rPr>
              <a:t>Óvodabővítés</a:t>
            </a:r>
          </a:p>
          <a:p>
            <a:pPr>
              <a:lnSpc>
                <a:spcPct val="114000"/>
              </a:lnSpc>
              <a:buClr>
                <a:schemeClr val="bg1">
                  <a:lumMod val="50000"/>
                </a:schemeClr>
              </a:buClr>
              <a:buSzPct val="50000"/>
            </a:pPr>
            <a:endParaRPr lang="hu-HU" altLang="zh-CN" sz="2000" dirty="0">
              <a:solidFill>
                <a:srgbClr val="212121"/>
              </a:solidFill>
              <a:latin typeface="Roboto" panose="02000000000000000000" pitchFamily="2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rgbClr val="212121"/>
                </a:solidFill>
                <a:latin typeface="Roboto" panose="02000000000000000000" pitchFamily="2" charset="0"/>
              </a:rPr>
              <a:t>Közel 800 millió forintos támogatás a Székely Bertalan Óvoda és Bölcsőde bővítésére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rgbClr val="212121"/>
                </a:solidFill>
                <a:latin typeface="Roboto" panose="02000000000000000000" pitchFamily="2" charset="0"/>
              </a:rPr>
              <a:t>Az új épületrészben 75 fő befogadására alkalmas három csoportszoba jön létre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rgbClr val="212121"/>
                </a:solidFill>
                <a:latin typeface="Roboto" panose="02000000000000000000" pitchFamily="2" charset="0"/>
              </a:rPr>
              <a:t>A kivitelezés a tervek szerint zajlik, várhatóan 2025. májusára készül el</a:t>
            </a:r>
          </a:p>
          <a:p>
            <a:pPr>
              <a:lnSpc>
                <a:spcPct val="114000"/>
              </a:lnSpc>
              <a:buClr>
                <a:schemeClr val="bg1">
                  <a:lumMod val="50000"/>
                </a:schemeClr>
              </a:buClr>
              <a:buSzPct val="50000"/>
            </a:pPr>
            <a:endParaRPr lang="hu-HU" altLang="zh-CN" sz="1400" b="1" dirty="0">
              <a:latin typeface="Century Gothic" panose="020B0502020202020204" pitchFamily="34" charset="0"/>
              <a:cs typeface="Calibri" pitchFamily="34" charset="0"/>
            </a:endParaRPr>
          </a:p>
          <a:p>
            <a:pPr>
              <a:lnSpc>
                <a:spcPct val="114000"/>
              </a:lnSpc>
              <a:buClr>
                <a:schemeClr val="bg1">
                  <a:lumMod val="50000"/>
                </a:schemeClr>
              </a:buClr>
              <a:buSzPct val="50000"/>
            </a:pPr>
            <a:endParaRPr lang="hu-HU" altLang="zh-CN" sz="1600" b="1" dirty="0">
              <a:latin typeface="Century Gothic" panose="020B0502020202020204" pitchFamily="34" charset="0"/>
              <a:cs typeface="Calibri" pitchFamily="34" charset="0"/>
            </a:endParaRPr>
          </a:p>
          <a:p>
            <a:pPr algn="ctr">
              <a:lnSpc>
                <a:spcPct val="114000"/>
              </a:lnSpc>
              <a:buClr>
                <a:schemeClr val="bg1">
                  <a:lumMod val="50000"/>
                </a:schemeClr>
              </a:buClr>
              <a:buSzPct val="50000"/>
            </a:pPr>
            <a:endParaRPr lang="hu-HU" altLang="zh-CN" b="1" dirty="0">
              <a:latin typeface="Century Gothic" panose="020B0502020202020204" pitchFamily="34" charset="0"/>
              <a:cs typeface="Calibri" pitchFamily="34" charset="0"/>
            </a:endParaRPr>
          </a:p>
          <a:p>
            <a:pPr>
              <a:lnSpc>
                <a:spcPct val="114000"/>
              </a:lnSpc>
              <a:buClr>
                <a:schemeClr val="bg1">
                  <a:lumMod val="50000"/>
                </a:schemeClr>
              </a:buClr>
              <a:buSzPct val="50000"/>
            </a:pPr>
            <a:endParaRPr lang="en-US" altLang="zh-CN" sz="1400" dirty="0">
              <a:latin typeface="Century Gothic" panose="020B0502020202020204" pitchFamily="34" charset="0"/>
              <a:cs typeface="Calibri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AFD5CF32-A04E-59ED-65C2-322159B455DD}"/>
              </a:ext>
            </a:extLst>
          </p:cNvPr>
          <p:cNvSpPr/>
          <p:nvPr/>
        </p:nvSpPr>
        <p:spPr>
          <a:xfrm>
            <a:off x="0" y="0"/>
            <a:ext cx="12192000" cy="941255"/>
          </a:xfrm>
          <a:prstGeom prst="rect">
            <a:avLst/>
          </a:prstGeom>
          <a:solidFill>
            <a:srgbClr val="558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b="0" i="0" dirty="0">
                <a:solidFill>
                  <a:schemeClr val="bg1"/>
                </a:solidFill>
                <a:effectLst/>
                <a:latin typeface="Century Gothic" panose="020B0502020202020204" pitchFamily="34" charset="0"/>
              </a:rPr>
              <a:t>Folyamatban lévő beruházások és fejlesztések</a:t>
            </a:r>
            <a:endParaRPr lang="en-US" sz="24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2904A78-73F9-51F3-E3A1-09F4FDD4CE4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3240" y="5593001"/>
            <a:ext cx="1361440" cy="1361440"/>
          </a:xfrm>
          <a:prstGeom prst="rect">
            <a:avLst/>
          </a:prstGeom>
        </p:spPr>
      </p:pic>
      <p:pic>
        <p:nvPicPr>
          <p:cNvPr id="12" name="Kép 11">
            <a:extLst>
              <a:ext uri="{FF2B5EF4-FFF2-40B4-BE49-F238E27FC236}">
                <a16:creationId xmlns:a16="http://schemas.microsoft.com/office/drawing/2014/main" id="{C0915B54-0E38-2877-0F92-7AD2DD0FC14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7360" y="1060627"/>
            <a:ext cx="6840000" cy="45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4610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E5468C4-EF10-4090-A5DD-AB361CE3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E5468C4-EF10-4090-A5DD-AB361CE3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26EA90A2-F73B-4AF5-BD36-3F185DE8579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60325">
            <a:solidFill>
              <a:srgbClr val="558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60A292A-B027-4D5E-9DFA-801E86D845E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" y="5833260"/>
            <a:ext cx="745590" cy="931881"/>
          </a:xfrm>
          <a:prstGeom prst="rect">
            <a:avLst/>
          </a:prstGeom>
          <a:effectLst>
            <a:softEdge rad="76200"/>
          </a:effec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35BD8A2-E8B1-44D8-BAFA-0C8228E90261}"/>
              </a:ext>
            </a:extLst>
          </p:cNvPr>
          <p:cNvCxnSpPr/>
          <p:nvPr/>
        </p:nvCxnSpPr>
        <p:spPr>
          <a:xfrm>
            <a:off x="243840" y="5740400"/>
            <a:ext cx="11653520" cy="0"/>
          </a:xfrm>
          <a:prstGeom prst="line">
            <a:avLst/>
          </a:prstGeom>
          <a:ln w="41275">
            <a:solidFill>
              <a:srgbClr val="558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3AB93809-9BB0-45AE-90D4-05EB7AE6F4BB}"/>
              </a:ext>
            </a:extLst>
          </p:cNvPr>
          <p:cNvSpPr txBox="1"/>
          <p:nvPr/>
        </p:nvSpPr>
        <p:spPr>
          <a:xfrm>
            <a:off x="1271050" y="6089055"/>
            <a:ext cx="8580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800" b="1" dirty="0">
                <a:latin typeface="Century Gothic" panose="020B0502020202020204" pitchFamily="34" charset="0"/>
              </a:rPr>
              <a:t>Közmeghallgatás – 2024. október </a:t>
            </a:r>
            <a:r>
              <a:rPr lang="hu-HU" b="1" dirty="0">
                <a:latin typeface="Century Gothic" panose="020B0502020202020204" pitchFamily="34" charset="0"/>
              </a:rPr>
              <a:t>31</a:t>
            </a:r>
            <a:r>
              <a:rPr lang="hu-HU" sz="1800" b="1" dirty="0">
                <a:latin typeface="Century Gothic" panose="020B0502020202020204" pitchFamily="34" charset="0"/>
              </a:rPr>
              <a:t>.  </a:t>
            </a:r>
            <a:endParaRPr lang="en-US" sz="1800" b="1" dirty="0">
              <a:latin typeface="Century Gothic" panose="020B0502020202020204" pitchFamily="34" charset="0"/>
            </a:endParaRPr>
          </a:p>
        </p:txBody>
      </p:sp>
      <p:sp>
        <p:nvSpPr>
          <p:cNvPr id="63" name="Text Box 16">
            <a:extLst>
              <a:ext uri="{FF2B5EF4-FFF2-40B4-BE49-F238E27FC236}">
                <a16:creationId xmlns:a16="http://schemas.microsoft.com/office/drawing/2014/main" id="{FFBCD975-FAD8-41EA-AE9A-0B90615570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4640" y="2222019"/>
            <a:ext cx="4971795" cy="240514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14000"/>
              </a:lnSpc>
              <a:buClr>
                <a:schemeClr val="bg1">
                  <a:lumMod val="50000"/>
                </a:schemeClr>
              </a:buClr>
              <a:buSzPct val="50000"/>
              <a:buFont typeface="Arial" panose="020B0604020202020204" pitchFamily="34" charset="0"/>
              <a:buChar char="•"/>
            </a:pPr>
            <a:endParaRPr lang="hu-HU" altLang="zh-CN" sz="2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hu-HU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 koncepcióterv elkészült és a képviselő-testület által 2024. májusában elfogadásra került.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hu-HU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z alapján a kiviteli terveket megrendeltük</a:t>
            </a:r>
            <a:br>
              <a:rPr lang="hu-HU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endParaRPr lang="en-US" altLang="zh-CN" sz="1400" dirty="0">
              <a:latin typeface="Century Gothic" panose="020B0502020202020204" pitchFamily="34" charset="0"/>
              <a:cs typeface="Calibri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00C8DB8-EF50-42C4-8D5D-7D472F509B04}"/>
              </a:ext>
            </a:extLst>
          </p:cNvPr>
          <p:cNvSpPr/>
          <p:nvPr/>
        </p:nvSpPr>
        <p:spPr>
          <a:xfrm>
            <a:off x="0" y="0"/>
            <a:ext cx="12192000" cy="941255"/>
          </a:xfrm>
          <a:prstGeom prst="rect">
            <a:avLst/>
          </a:prstGeom>
          <a:solidFill>
            <a:srgbClr val="558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b="0" i="0" dirty="0">
                <a:solidFill>
                  <a:schemeClr val="bg1"/>
                </a:solidFill>
                <a:effectLst/>
                <a:latin typeface="Century Gothic" panose="020B0502020202020204" pitchFamily="34" charset="0"/>
              </a:rPr>
              <a:t>Folyamatban lévő tervezések</a:t>
            </a:r>
            <a:endParaRPr lang="en-US" sz="24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04D9E9-0F86-4778-B4E8-CF00BE18BDA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3240" y="5593001"/>
            <a:ext cx="1361440" cy="1361440"/>
          </a:xfrm>
          <a:prstGeom prst="rect">
            <a:avLst/>
          </a:prstGeom>
        </p:spPr>
      </p:pic>
      <p:sp>
        <p:nvSpPr>
          <p:cNvPr id="5" name="Szövegdoboz 4">
            <a:extLst>
              <a:ext uri="{FF2B5EF4-FFF2-40B4-BE49-F238E27FC236}">
                <a16:creationId xmlns:a16="http://schemas.microsoft.com/office/drawing/2014/main" id="{4B86A4FE-F656-CEAA-459E-973ADC85D1A9}"/>
              </a:ext>
            </a:extLst>
          </p:cNvPr>
          <p:cNvSpPr txBox="1"/>
          <p:nvPr/>
        </p:nvSpPr>
        <p:spPr>
          <a:xfrm>
            <a:off x="243840" y="1882193"/>
            <a:ext cx="6131168" cy="4196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  <a:buClr>
                <a:schemeClr val="bg1">
                  <a:lumMod val="50000"/>
                </a:schemeClr>
              </a:buClr>
              <a:buSzPct val="50000"/>
            </a:pPr>
            <a:r>
              <a:rPr lang="hu-HU" altLang="zh-CN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enyvesligeti gyalogátkelő</a:t>
            </a:r>
          </a:p>
        </p:txBody>
      </p:sp>
      <p:pic>
        <p:nvPicPr>
          <p:cNvPr id="10" name="Kép 9">
            <a:extLst>
              <a:ext uri="{FF2B5EF4-FFF2-40B4-BE49-F238E27FC236}">
                <a16:creationId xmlns:a16="http://schemas.microsoft.com/office/drawing/2014/main" id="{B4C5DF25-1F08-DAC7-EC65-6A516E0EBCB0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6274" b="1524"/>
          <a:stretch/>
        </p:blipFill>
        <p:spPr>
          <a:xfrm>
            <a:off x="5687060" y="1212023"/>
            <a:ext cx="6210300" cy="4206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1225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EE5FFF-19DA-987B-E160-071AAE7B78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0113BB3-9C60-CF41-0349-88BC9CFF11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E5468C4-EF10-4090-A5DD-AB361CE3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ED5060D3-C36D-302B-9DA7-C1AF2CC4D7A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60325">
            <a:solidFill>
              <a:srgbClr val="558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C85EAEA-A4F7-E773-57A8-1B428AD32D9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" y="5833260"/>
            <a:ext cx="745590" cy="931881"/>
          </a:xfrm>
          <a:prstGeom prst="rect">
            <a:avLst/>
          </a:prstGeom>
          <a:effectLst>
            <a:softEdge rad="76200"/>
          </a:effec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02095F2-A6C6-CF18-18E5-C3E83FFD6FEC}"/>
              </a:ext>
            </a:extLst>
          </p:cNvPr>
          <p:cNvCxnSpPr/>
          <p:nvPr/>
        </p:nvCxnSpPr>
        <p:spPr>
          <a:xfrm>
            <a:off x="243840" y="5740400"/>
            <a:ext cx="11653520" cy="0"/>
          </a:xfrm>
          <a:prstGeom prst="line">
            <a:avLst/>
          </a:prstGeom>
          <a:ln w="41275">
            <a:solidFill>
              <a:srgbClr val="558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6A12EDDF-0430-F674-7E9D-50405DA69447}"/>
              </a:ext>
            </a:extLst>
          </p:cNvPr>
          <p:cNvSpPr txBox="1"/>
          <p:nvPr/>
        </p:nvSpPr>
        <p:spPr>
          <a:xfrm>
            <a:off x="873760" y="6093966"/>
            <a:ext cx="9977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800" b="1" dirty="0">
                <a:latin typeface="Century Gothic" panose="020B0502020202020204" pitchFamily="34" charset="0"/>
              </a:rPr>
              <a:t>Közmeghallgatás – 2024. október </a:t>
            </a:r>
            <a:r>
              <a:rPr lang="hu-HU" b="1" dirty="0">
                <a:latin typeface="Century Gothic" panose="020B0502020202020204" pitchFamily="34" charset="0"/>
              </a:rPr>
              <a:t>31</a:t>
            </a:r>
            <a:r>
              <a:rPr lang="hu-HU" sz="1800" b="1" dirty="0">
                <a:latin typeface="Century Gothic" panose="020B0502020202020204" pitchFamily="34" charset="0"/>
              </a:rPr>
              <a:t>.  </a:t>
            </a:r>
            <a:endParaRPr lang="en-US" sz="1800" b="1" dirty="0">
              <a:latin typeface="Century Gothic" panose="020B050202020202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153AC4D2-6084-E82C-B2AB-75AE59F6BA0F}"/>
              </a:ext>
            </a:extLst>
          </p:cNvPr>
          <p:cNvSpPr/>
          <p:nvPr/>
        </p:nvSpPr>
        <p:spPr>
          <a:xfrm>
            <a:off x="0" y="0"/>
            <a:ext cx="12192000" cy="941255"/>
          </a:xfrm>
          <a:prstGeom prst="rect">
            <a:avLst/>
          </a:prstGeom>
          <a:solidFill>
            <a:srgbClr val="558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b="0" i="0" dirty="0">
                <a:solidFill>
                  <a:schemeClr val="bg1"/>
                </a:solidFill>
                <a:effectLst/>
                <a:latin typeface="Century Gothic" panose="020B0502020202020204" pitchFamily="34" charset="0"/>
              </a:rPr>
              <a:t>Tervezett fejlesztéseink</a:t>
            </a:r>
            <a:endParaRPr lang="en-US" sz="24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8D68697-67AF-BAC7-A32E-B0EC7565288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3240" y="5593001"/>
            <a:ext cx="1361440" cy="1361440"/>
          </a:xfrm>
          <a:prstGeom prst="rect">
            <a:avLst/>
          </a:prstGeom>
        </p:spPr>
      </p:pic>
      <p:sp>
        <p:nvSpPr>
          <p:cNvPr id="2" name="Szövegdoboz 1">
            <a:extLst>
              <a:ext uri="{FF2B5EF4-FFF2-40B4-BE49-F238E27FC236}">
                <a16:creationId xmlns:a16="http://schemas.microsoft.com/office/drawing/2014/main" id="{7C64804A-74D5-21A7-2E43-85C47BB1D98F}"/>
              </a:ext>
            </a:extLst>
          </p:cNvPr>
          <p:cNvSpPr txBox="1"/>
          <p:nvPr/>
        </p:nvSpPr>
        <p:spPr>
          <a:xfrm>
            <a:off x="751840" y="1798320"/>
            <a:ext cx="6106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/>
              <a:t> </a:t>
            </a:r>
          </a:p>
          <a:p>
            <a:endParaRPr lang="hu-HU" dirty="0"/>
          </a:p>
        </p:txBody>
      </p:sp>
      <p:sp>
        <p:nvSpPr>
          <p:cNvPr id="10" name="Szövegdoboz 9">
            <a:extLst>
              <a:ext uri="{FF2B5EF4-FFF2-40B4-BE49-F238E27FC236}">
                <a16:creationId xmlns:a16="http://schemas.microsoft.com/office/drawing/2014/main" id="{97D086A0-7A97-4847-9E46-7F45627932C6}"/>
              </a:ext>
            </a:extLst>
          </p:cNvPr>
          <p:cNvSpPr txBox="1"/>
          <p:nvPr/>
        </p:nvSpPr>
        <p:spPr>
          <a:xfrm>
            <a:off x="345440" y="1192123"/>
            <a:ext cx="4937760" cy="46846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enyvesliget és Székely Bertalan út csomópont gyalogos és kerékpárosátvezetéssel</a:t>
            </a:r>
            <a:endParaRPr lang="hu-HU" sz="200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sapás utca járda </a:t>
            </a:r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ózsa György út következő szakaszának felújítása</a:t>
            </a:r>
            <a:endParaRPr lang="hu-HU" sz="200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özvilágítás bővítése</a:t>
            </a:r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</a:t>
            </a:r>
            <a:r>
              <a:rPr lang="hu-HU" sz="2000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rt aszfaltos utak építésének folytatása 2025-ben is</a:t>
            </a:r>
            <a:endParaRPr lang="hu-HU" sz="200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rgbClr val="000000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erek utcai szerkezet kész ingatlan - </a:t>
            </a:r>
            <a:r>
              <a:rPr lang="hu-HU" altLang="zh-CN" sz="200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özétkeztetés céljára szolgáló konyha, vendégház és konferenciaterem kialakítása</a:t>
            </a:r>
          </a:p>
          <a:p>
            <a:pPr lvl="0">
              <a:lnSpc>
                <a:spcPct val="107000"/>
              </a:lnSpc>
            </a:pPr>
            <a:endParaRPr lang="hu-HU" sz="2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1" name="Kép 10">
            <a:extLst>
              <a:ext uri="{FF2B5EF4-FFF2-40B4-BE49-F238E27FC236}">
                <a16:creationId xmlns:a16="http://schemas.microsoft.com/office/drawing/2014/main" id="{68CCE824-BF2C-C332-16B2-B5FCC0E725B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4959" y="1149637"/>
            <a:ext cx="2857493" cy="1904996"/>
          </a:xfrm>
          <a:prstGeom prst="rect">
            <a:avLst/>
          </a:prstGeom>
        </p:spPr>
      </p:pic>
      <p:pic>
        <p:nvPicPr>
          <p:cNvPr id="13" name="Kép 12">
            <a:extLst>
              <a:ext uri="{FF2B5EF4-FFF2-40B4-BE49-F238E27FC236}">
                <a16:creationId xmlns:a16="http://schemas.microsoft.com/office/drawing/2014/main" id="{9288BF6F-B07D-7DCF-30BB-DF06DD6A82E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3940" y="1152158"/>
            <a:ext cx="2857500" cy="1905000"/>
          </a:xfrm>
          <a:prstGeom prst="rect">
            <a:avLst/>
          </a:prstGeom>
        </p:spPr>
      </p:pic>
      <p:pic>
        <p:nvPicPr>
          <p:cNvPr id="17" name="Kép 16">
            <a:extLst>
              <a:ext uri="{FF2B5EF4-FFF2-40B4-BE49-F238E27FC236}">
                <a16:creationId xmlns:a16="http://schemas.microsoft.com/office/drawing/2014/main" id="{D69535B8-9395-99AA-22FD-39E57180F24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23000" y="3380290"/>
            <a:ext cx="2758440" cy="1837245"/>
          </a:xfrm>
          <a:prstGeom prst="rect">
            <a:avLst/>
          </a:prstGeom>
        </p:spPr>
      </p:pic>
      <p:pic>
        <p:nvPicPr>
          <p:cNvPr id="18" name="Kép 17">
            <a:extLst>
              <a:ext uri="{FF2B5EF4-FFF2-40B4-BE49-F238E27FC236}">
                <a16:creationId xmlns:a16="http://schemas.microsoft.com/office/drawing/2014/main" id="{B25CDFFB-B3C2-B4AF-2891-65AAF719ABD0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t="6274" b="1524"/>
          <a:stretch/>
        </p:blipFill>
        <p:spPr>
          <a:xfrm>
            <a:off x="9204959" y="3290650"/>
            <a:ext cx="2839721" cy="1923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9571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E5468C4-EF10-4090-A5DD-AB361CE3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E5468C4-EF10-4090-A5DD-AB361CE3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26EA90A2-F73B-4AF5-BD36-3F185DE8579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60325">
            <a:solidFill>
              <a:srgbClr val="558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60A292A-B027-4D5E-9DFA-801E86D845E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" y="5833260"/>
            <a:ext cx="745590" cy="931881"/>
          </a:xfrm>
          <a:prstGeom prst="rect">
            <a:avLst/>
          </a:prstGeom>
          <a:effectLst>
            <a:softEdge rad="76200"/>
          </a:effec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35BD8A2-E8B1-44D8-BAFA-0C8228E90261}"/>
              </a:ext>
            </a:extLst>
          </p:cNvPr>
          <p:cNvCxnSpPr/>
          <p:nvPr/>
        </p:nvCxnSpPr>
        <p:spPr>
          <a:xfrm>
            <a:off x="243840" y="5740400"/>
            <a:ext cx="11653520" cy="0"/>
          </a:xfrm>
          <a:prstGeom prst="line">
            <a:avLst/>
          </a:prstGeom>
          <a:ln w="41275">
            <a:solidFill>
              <a:srgbClr val="558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3AB93809-9BB0-45AE-90D4-05EB7AE6F4BB}"/>
              </a:ext>
            </a:extLst>
          </p:cNvPr>
          <p:cNvSpPr txBox="1"/>
          <p:nvPr/>
        </p:nvSpPr>
        <p:spPr>
          <a:xfrm>
            <a:off x="1780575" y="6114534"/>
            <a:ext cx="8580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özmeghallgatás – 2024. október 31. 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00C8DB8-EF50-42C4-8D5D-7D472F509B04}"/>
              </a:ext>
            </a:extLst>
          </p:cNvPr>
          <p:cNvSpPr/>
          <p:nvPr/>
        </p:nvSpPr>
        <p:spPr>
          <a:xfrm>
            <a:off x="2578629" y="29817"/>
            <a:ext cx="9583554" cy="936000"/>
          </a:xfrm>
          <a:prstGeom prst="rect">
            <a:avLst/>
          </a:prstGeom>
          <a:solidFill>
            <a:srgbClr val="558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art aszfaltos útfelújítá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04D9E9-0F86-4778-B4E8-CF00BE18BDA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3240" y="5593001"/>
            <a:ext cx="1361440" cy="1361440"/>
          </a:xfrm>
          <a:prstGeom prst="rect">
            <a:avLst/>
          </a:prstGeom>
        </p:spPr>
      </p:pic>
      <p:pic>
        <p:nvPicPr>
          <p:cNvPr id="15" name="Kép 14">
            <a:extLst>
              <a:ext uri="{FF2B5EF4-FFF2-40B4-BE49-F238E27FC236}">
                <a16:creationId xmlns:a16="http://schemas.microsoft.com/office/drawing/2014/main" id="{0CA0E94F-63D4-3156-2407-3030FF956E7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583" y="92859"/>
            <a:ext cx="2127183" cy="885191"/>
          </a:xfrm>
          <a:prstGeom prst="rect">
            <a:avLst/>
          </a:prstGeom>
        </p:spPr>
      </p:pic>
      <p:sp>
        <p:nvSpPr>
          <p:cNvPr id="2" name="Szövegdoboz 1">
            <a:extLst>
              <a:ext uri="{FF2B5EF4-FFF2-40B4-BE49-F238E27FC236}">
                <a16:creationId xmlns:a16="http://schemas.microsoft.com/office/drawing/2014/main" id="{DBA21441-1F87-AA2D-6B2F-F93D1A004C7C}"/>
              </a:ext>
            </a:extLst>
          </p:cNvPr>
          <p:cNvSpPr txBox="1"/>
          <p:nvPr/>
        </p:nvSpPr>
        <p:spPr>
          <a:xfrm>
            <a:off x="169583" y="1283080"/>
            <a:ext cx="6032435" cy="4196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024-ben közel 4 km poros út kapott mart aszfalt burkolatot.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Jelenlegi munkálatok a Zalagyöngye utcában 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 kezdeti bizalmatlanság után, nagy megelégedettség a visszajelzések alapján.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Újrahasznosított anyagok felhasználásának innovációi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örnyezettudatosság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ivitelezés költségeinek csökkentése</a:t>
            </a:r>
          </a:p>
        </p:txBody>
      </p:sp>
      <p:pic>
        <p:nvPicPr>
          <p:cNvPr id="10" name="Kép 9" descr="A képen kültéri, felhő, ég, fa látható&#10;&#10;Automatikusan generált leírás">
            <a:extLst>
              <a:ext uri="{FF2B5EF4-FFF2-40B4-BE49-F238E27FC236}">
                <a16:creationId xmlns:a16="http://schemas.microsoft.com/office/drawing/2014/main" id="{94D553AD-7957-2DE0-825C-427B963665C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26" r="7369"/>
          <a:stretch/>
        </p:blipFill>
        <p:spPr>
          <a:xfrm>
            <a:off x="6218407" y="1256197"/>
            <a:ext cx="5748301" cy="4159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1514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975144-2CE1-ABB0-97C3-E0D027F534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4C8F92-F864-D0EE-51EC-D82EB04409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4C8F92-F864-D0EE-51EC-D82EB04409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62163611-31A8-2B96-11DA-15BAA9946E2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60325">
            <a:solidFill>
              <a:srgbClr val="558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2E00D51-EFCC-AD10-86B2-C000B62D4EB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" y="5833260"/>
            <a:ext cx="745590" cy="931881"/>
          </a:xfrm>
          <a:prstGeom prst="rect">
            <a:avLst/>
          </a:prstGeom>
          <a:effectLst>
            <a:softEdge rad="76200"/>
          </a:effec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3EE8191-F26E-450E-7CE8-CFBE5BE6FF86}"/>
              </a:ext>
            </a:extLst>
          </p:cNvPr>
          <p:cNvCxnSpPr/>
          <p:nvPr/>
        </p:nvCxnSpPr>
        <p:spPr>
          <a:xfrm>
            <a:off x="243840" y="5740400"/>
            <a:ext cx="11653520" cy="0"/>
          </a:xfrm>
          <a:prstGeom prst="line">
            <a:avLst/>
          </a:prstGeom>
          <a:ln w="41275">
            <a:solidFill>
              <a:srgbClr val="558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4692ADE-ED73-E5A9-1AB6-F0348827A031}"/>
              </a:ext>
            </a:extLst>
          </p:cNvPr>
          <p:cNvSpPr txBox="1"/>
          <p:nvPr/>
        </p:nvSpPr>
        <p:spPr>
          <a:xfrm>
            <a:off x="1780575" y="6114534"/>
            <a:ext cx="8580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özmeghallgatás – 2024. október 31. 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E59C359-7A12-E518-F58D-2AEEC0E3149D}"/>
              </a:ext>
            </a:extLst>
          </p:cNvPr>
          <p:cNvSpPr/>
          <p:nvPr/>
        </p:nvSpPr>
        <p:spPr>
          <a:xfrm>
            <a:off x="2608446" y="0"/>
            <a:ext cx="9583554" cy="936000"/>
          </a:xfrm>
          <a:prstGeom prst="rect">
            <a:avLst/>
          </a:prstGeom>
          <a:solidFill>
            <a:srgbClr val="558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zékely Bertalan u 24. avagy az Öcsi-ház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2B65A5D-0F6E-0C3C-3E9E-B93A4708836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3240" y="5593001"/>
            <a:ext cx="1361440" cy="1361440"/>
          </a:xfrm>
          <a:prstGeom prst="rect">
            <a:avLst/>
          </a:prstGeom>
        </p:spPr>
      </p:pic>
      <p:pic>
        <p:nvPicPr>
          <p:cNvPr id="15" name="Kép 14">
            <a:extLst>
              <a:ext uri="{FF2B5EF4-FFF2-40B4-BE49-F238E27FC236}">
                <a16:creationId xmlns:a16="http://schemas.microsoft.com/office/drawing/2014/main" id="{0D6B74AB-BD81-1AF5-E401-46127D73776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583" y="92859"/>
            <a:ext cx="2127183" cy="885191"/>
          </a:xfrm>
          <a:prstGeom prst="rect">
            <a:avLst/>
          </a:prstGeom>
        </p:spPr>
      </p:pic>
      <p:sp>
        <p:nvSpPr>
          <p:cNvPr id="5" name="Szövegdoboz 4">
            <a:extLst>
              <a:ext uri="{FF2B5EF4-FFF2-40B4-BE49-F238E27FC236}">
                <a16:creationId xmlns:a16="http://schemas.microsoft.com/office/drawing/2014/main" id="{6A0064C0-4A36-6CC8-927E-B2308791C36D}"/>
              </a:ext>
            </a:extLst>
          </p:cNvPr>
          <p:cNvSpPr txBox="1"/>
          <p:nvPr/>
        </p:nvSpPr>
        <p:spPr>
          <a:xfrm>
            <a:off x="184206" y="1891051"/>
            <a:ext cx="5436704" cy="27084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ts val="1000"/>
              <a:buFontTx/>
              <a:buNone/>
              <a:tabLst>
                <a:tab pos="457200" algn="l"/>
              </a:tabLst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 tető cseréjén kívül Szada Nova </a:t>
            </a:r>
            <a:r>
              <a:rPr kumimoji="0" lang="hu-HU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kft</a:t>
            </a: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 végzi a teljes körű felújítást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izesblokk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estés-mázolá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urkolá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eljes elektromos hálózat cser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űtésrendszer kialakítása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dvari tereprendezés</a:t>
            </a:r>
          </a:p>
        </p:txBody>
      </p:sp>
      <p:pic>
        <p:nvPicPr>
          <p:cNvPr id="11" name="Kép 10" descr="A képen épület, ingatlan, talaj, kültéri látható&#10;&#10;Automatikusan generált leírás">
            <a:extLst>
              <a:ext uri="{FF2B5EF4-FFF2-40B4-BE49-F238E27FC236}">
                <a16:creationId xmlns:a16="http://schemas.microsoft.com/office/drawing/2014/main" id="{CEB1D9E7-C770-85D0-8B07-4E32649A3FC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43" r="10829"/>
          <a:stretch/>
        </p:blipFill>
        <p:spPr>
          <a:xfrm>
            <a:off x="8458200" y="1027352"/>
            <a:ext cx="3586480" cy="3432987"/>
          </a:xfrm>
          <a:prstGeom prst="rect">
            <a:avLst/>
          </a:prstGeom>
        </p:spPr>
      </p:pic>
      <p:sp>
        <p:nvSpPr>
          <p:cNvPr id="12" name="Szövegdoboz 11">
            <a:extLst>
              <a:ext uri="{FF2B5EF4-FFF2-40B4-BE49-F238E27FC236}">
                <a16:creationId xmlns:a16="http://schemas.microsoft.com/office/drawing/2014/main" id="{C2F78D02-0F15-0D85-C337-352104188408}"/>
              </a:ext>
            </a:extLst>
          </p:cNvPr>
          <p:cNvSpPr txBox="1"/>
          <p:nvPr/>
        </p:nvSpPr>
        <p:spPr>
          <a:xfrm>
            <a:off x="269240" y="5005963"/>
            <a:ext cx="116535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égünkön keresztül az ingatlan felújítására fordított anyagköltség és alvállalkozói díjak a mai napi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7.300.000,- Ft</a:t>
            </a:r>
          </a:p>
        </p:txBody>
      </p:sp>
      <p:sp>
        <p:nvSpPr>
          <p:cNvPr id="13" name="Szövegdoboz 12">
            <a:extLst>
              <a:ext uri="{FF2B5EF4-FFF2-40B4-BE49-F238E27FC236}">
                <a16:creationId xmlns:a16="http://schemas.microsoft.com/office/drawing/2014/main" id="{EEF9F35B-F8DD-10E6-C8D4-720327F10ECC}"/>
              </a:ext>
            </a:extLst>
          </p:cNvPr>
          <p:cNvSpPr txBox="1"/>
          <p:nvPr/>
        </p:nvSpPr>
        <p:spPr>
          <a:xfrm>
            <a:off x="54999" y="1112437"/>
            <a:ext cx="77571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zékely kert területi és funkcionális bővítését teszi lehetővé.</a:t>
            </a:r>
          </a:p>
        </p:txBody>
      </p:sp>
      <p:pic>
        <p:nvPicPr>
          <p:cNvPr id="16" name="Kép 15" descr="A képen fedett pályás, fal, mennyezet, épület látható&#10;&#10;Automatikusan generált leírás">
            <a:extLst>
              <a:ext uri="{FF2B5EF4-FFF2-40B4-BE49-F238E27FC236}">
                <a16:creationId xmlns:a16="http://schemas.microsoft.com/office/drawing/2014/main" id="{C2E22E04-BE31-4394-3BC0-48006515845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28" r="31134"/>
          <a:stretch/>
        </p:blipFill>
        <p:spPr>
          <a:xfrm>
            <a:off x="5655365" y="1489719"/>
            <a:ext cx="2345635" cy="3501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9710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76488B-F23F-CE9D-32AE-4DF4D2F781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0236BCD-40D6-2E88-B2FB-FF06121E09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0236BCD-40D6-2E88-B2FB-FF06121E09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03F59F71-4C83-B609-B995-FDA93F68C56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60325">
            <a:solidFill>
              <a:srgbClr val="558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8D54E02-7BCB-405C-674E-1D8CE00426D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" y="5833260"/>
            <a:ext cx="745590" cy="931881"/>
          </a:xfrm>
          <a:prstGeom prst="rect">
            <a:avLst/>
          </a:prstGeom>
          <a:effectLst>
            <a:softEdge rad="76200"/>
          </a:effec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80BE409-2063-4F00-AD65-A724D0CF7DBB}"/>
              </a:ext>
            </a:extLst>
          </p:cNvPr>
          <p:cNvCxnSpPr/>
          <p:nvPr/>
        </p:nvCxnSpPr>
        <p:spPr>
          <a:xfrm>
            <a:off x="243840" y="5740400"/>
            <a:ext cx="11653520" cy="0"/>
          </a:xfrm>
          <a:prstGeom prst="line">
            <a:avLst/>
          </a:prstGeom>
          <a:ln w="41275">
            <a:solidFill>
              <a:srgbClr val="558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6CD57C18-69CE-5FB6-304F-7776E79E8FD0}"/>
              </a:ext>
            </a:extLst>
          </p:cNvPr>
          <p:cNvSpPr txBox="1"/>
          <p:nvPr/>
        </p:nvSpPr>
        <p:spPr>
          <a:xfrm>
            <a:off x="1780575" y="6114534"/>
            <a:ext cx="8580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özmeghallgatás – 2024. október 31. 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1B7A8A15-39B9-F2D4-D836-F24314F902A7}"/>
              </a:ext>
            </a:extLst>
          </p:cNvPr>
          <p:cNvSpPr/>
          <p:nvPr/>
        </p:nvSpPr>
        <p:spPr>
          <a:xfrm>
            <a:off x="2578629" y="29817"/>
            <a:ext cx="9583554" cy="936000"/>
          </a:xfrm>
          <a:prstGeom prst="rect">
            <a:avLst/>
          </a:prstGeom>
          <a:solidFill>
            <a:srgbClr val="558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Örökerdős művelési mód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7489680-FD56-8F5B-898B-21516393A04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3240" y="5593001"/>
            <a:ext cx="1361440" cy="1361440"/>
          </a:xfrm>
          <a:prstGeom prst="rect">
            <a:avLst/>
          </a:prstGeom>
        </p:spPr>
      </p:pic>
      <p:pic>
        <p:nvPicPr>
          <p:cNvPr id="15" name="Kép 14">
            <a:extLst>
              <a:ext uri="{FF2B5EF4-FFF2-40B4-BE49-F238E27FC236}">
                <a16:creationId xmlns:a16="http://schemas.microsoft.com/office/drawing/2014/main" id="{4E0FC123-454D-C504-B722-5A5DA23FCDB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583" y="92859"/>
            <a:ext cx="2127183" cy="885191"/>
          </a:xfrm>
          <a:prstGeom prst="rect">
            <a:avLst/>
          </a:prstGeom>
        </p:spPr>
      </p:pic>
      <p:sp>
        <p:nvSpPr>
          <p:cNvPr id="5" name="Szövegdoboz 4">
            <a:extLst>
              <a:ext uri="{FF2B5EF4-FFF2-40B4-BE49-F238E27FC236}">
                <a16:creationId xmlns:a16="http://schemas.microsoft.com/office/drawing/2014/main" id="{53E8F6F3-47F6-FAC0-F64F-6BA8D9900809}"/>
              </a:ext>
            </a:extLst>
          </p:cNvPr>
          <p:cNvSpPr txBox="1"/>
          <p:nvPr/>
        </p:nvSpPr>
        <p:spPr>
          <a:xfrm>
            <a:off x="320540" y="1535168"/>
            <a:ext cx="5990811" cy="36317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zada nagyságrendileg 20 hektáros belterületi erdeinek idén közel az 1/3-a kerül felújításra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025-ben ugyanezzel a mértékkel kíván tovább haladni az Önkormányzat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 vegetációs időszakon kívül 500 facsemete kerül elültetésre az Aranyhegyi Kiserdőben és a Dobogói Szabadidő Parkban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 térség erdészeti szakemberei (különösen a PPE) figyelmét, szakmai támogatását sikerült kivívni a Szadai szemléletmóddal.</a:t>
            </a:r>
          </a:p>
        </p:txBody>
      </p:sp>
      <p:pic>
        <p:nvPicPr>
          <p:cNvPr id="11" name="Kép 10" descr="A képen kültéri, növény, fa, dzsungel látható&#10;&#10;Automatikusan generált leírás">
            <a:extLst>
              <a:ext uri="{FF2B5EF4-FFF2-40B4-BE49-F238E27FC236}">
                <a16:creationId xmlns:a16="http://schemas.microsoft.com/office/drawing/2014/main" id="{9EE62E0B-C4E9-3308-3B05-0795D743BEF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1388" y="1164898"/>
            <a:ext cx="5775548" cy="4331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6239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36500C-8277-15F5-B9D6-3988634717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6B2EF65-AD98-58A4-CC10-FCA7F2EC82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6B2EF65-AD98-58A4-CC10-FCA7F2EC82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C09CD73-12D4-A871-3ED0-CACD0142250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60325">
            <a:solidFill>
              <a:srgbClr val="558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F543CE6-2995-DF0C-E684-3BA5930753C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" y="5833260"/>
            <a:ext cx="745590" cy="931881"/>
          </a:xfrm>
          <a:prstGeom prst="rect">
            <a:avLst/>
          </a:prstGeom>
          <a:effectLst>
            <a:softEdge rad="76200"/>
          </a:effec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D41B960-76E9-5D0B-8921-22909F8694E0}"/>
              </a:ext>
            </a:extLst>
          </p:cNvPr>
          <p:cNvCxnSpPr/>
          <p:nvPr/>
        </p:nvCxnSpPr>
        <p:spPr>
          <a:xfrm>
            <a:off x="243840" y="5740400"/>
            <a:ext cx="11653520" cy="0"/>
          </a:xfrm>
          <a:prstGeom prst="line">
            <a:avLst/>
          </a:prstGeom>
          <a:ln w="41275">
            <a:solidFill>
              <a:srgbClr val="558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68D4F624-95FF-F5C7-FC16-C37BEA9B82E3}"/>
              </a:ext>
            </a:extLst>
          </p:cNvPr>
          <p:cNvSpPr txBox="1"/>
          <p:nvPr/>
        </p:nvSpPr>
        <p:spPr>
          <a:xfrm>
            <a:off x="1780575" y="6114534"/>
            <a:ext cx="8580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özmeghallgatás – 2024. október 31. 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AF7E23D-DF44-6EF2-C4E6-7BE9A8D8D46B}"/>
              </a:ext>
            </a:extLst>
          </p:cNvPr>
          <p:cNvSpPr/>
          <p:nvPr/>
        </p:nvSpPr>
        <p:spPr>
          <a:xfrm>
            <a:off x="2578629" y="29817"/>
            <a:ext cx="9583554" cy="936000"/>
          </a:xfrm>
          <a:prstGeom prst="rect">
            <a:avLst/>
          </a:prstGeom>
          <a:solidFill>
            <a:srgbClr val="558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obogói Szabadidő park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234A75-588D-FE16-10BC-789AF911D3D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3240" y="5593001"/>
            <a:ext cx="1361440" cy="1361440"/>
          </a:xfrm>
          <a:prstGeom prst="rect">
            <a:avLst/>
          </a:prstGeom>
        </p:spPr>
      </p:pic>
      <p:pic>
        <p:nvPicPr>
          <p:cNvPr id="15" name="Kép 14">
            <a:extLst>
              <a:ext uri="{FF2B5EF4-FFF2-40B4-BE49-F238E27FC236}">
                <a16:creationId xmlns:a16="http://schemas.microsoft.com/office/drawing/2014/main" id="{19B71578-B20E-DB46-518F-18E389EA04B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583" y="92859"/>
            <a:ext cx="2127183" cy="885191"/>
          </a:xfrm>
          <a:prstGeom prst="rect">
            <a:avLst/>
          </a:prstGeom>
        </p:spPr>
      </p:pic>
      <p:sp>
        <p:nvSpPr>
          <p:cNvPr id="5" name="Szövegdoboz 4">
            <a:extLst>
              <a:ext uri="{FF2B5EF4-FFF2-40B4-BE49-F238E27FC236}">
                <a16:creationId xmlns:a16="http://schemas.microsoft.com/office/drawing/2014/main" id="{B5985818-B879-A374-AD68-FA020EDA079C}"/>
              </a:ext>
            </a:extLst>
          </p:cNvPr>
          <p:cNvSpPr txBox="1"/>
          <p:nvPr/>
        </p:nvSpPr>
        <p:spPr>
          <a:xfrm>
            <a:off x="402864" y="1777279"/>
            <a:ext cx="5093473" cy="32726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oncepcióterv elfogadva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étányrendszer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000 nm árnyas rendezvényterület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00 m hosszú, 1 méter széles futókör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ét esőkert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irágos rét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Játszótér</a:t>
            </a:r>
          </a:p>
        </p:txBody>
      </p:sp>
      <p:pic>
        <p:nvPicPr>
          <p:cNvPr id="13" name="Kép 12" descr="A képen kültéri, fű, felhő, fa látható&#10;&#10;Automatikusan generált leírás">
            <a:extLst>
              <a:ext uri="{FF2B5EF4-FFF2-40B4-BE49-F238E27FC236}">
                <a16:creationId xmlns:a16="http://schemas.microsoft.com/office/drawing/2014/main" id="{A6326396-CE08-B10B-EAF6-015CE1DD85F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0681" y="1097721"/>
            <a:ext cx="6013999" cy="451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3495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E5468C4-EF10-4090-A5DD-AB361CE3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E5468C4-EF10-4090-A5DD-AB361CE3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26EA90A2-F73B-4AF5-BD36-3F185DE8579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60325">
            <a:solidFill>
              <a:srgbClr val="558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00C8DB8-EF50-42C4-8D5D-7D472F509B04}"/>
              </a:ext>
            </a:extLst>
          </p:cNvPr>
          <p:cNvSpPr/>
          <p:nvPr/>
        </p:nvSpPr>
        <p:spPr>
          <a:xfrm>
            <a:off x="0" y="0"/>
            <a:ext cx="12192000" cy="941255"/>
          </a:xfrm>
          <a:prstGeom prst="rect">
            <a:avLst/>
          </a:prstGeom>
          <a:solidFill>
            <a:srgbClr val="558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15209F-464C-40F3-836A-4AFF6E8ECDAC}"/>
              </a:ext>
            </a:extLst>
          </p:cNvPr>
          <p:cNvSpPr txBox="1"/>
          <p:nvPr/>
        </p:nvSpPr>
        <p:spPr>
          <a:xfrm>
            <a:off x="3311337" y="1581143"/>
            <a:ext cx="4608954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2800" b="1" dirty="0">
                <a:latin typeface="Century Gothic" panose="020B0502020202020204" pitchFamily="34" charset="0"/>
                <a:cs typeface="Calibri" pitchFamily="34" charset="0"/>
              </a:rPr>
              <a:t>Köszönjük a figyelmüket! </a:t>
            </a:r>
          </a:p>
          <a:p>
            <a:endParaRPr lang="hu-HU" b="1" dirty="0">
              <a:latin typeface="Century Gothic" panose="020B0502020202020204" pitchFamily="34" charset="0"/>
              <a:cs typeface="Calibri" pitchFamily="34" charset="0"/>
            </a:endParaRPr>
          </a:p>
          <a:p>
            <a:endParaRPr lang="hu-HU" b="1" dirty="0">
              <a:latin typeface="Century Gothic" panose="020B0502020202020204" pitchFamily="34" charset="0"/>
              <a:cs typeface="Calibri" pitchFamily="34" charset="0"/>
            </a:endParaRPr>
          </a:p>
          <a:p>
            <a:endParaRPr lang="hu-HU" b="1" dirty="0">
              <a:latin typeface="Century Gothic" panose="020B0502020202020204" pitchFamily="34" charset="0"/>
              <a:cs typeface="Calibri" pitchFamily="34" charset="0"/>
            </a:endParaRPr>
          </a:p>
          <a:p>
            <a:endParaRPr lang="hu-HU" b="1" dirty="0">
              <a:latin typeface="Century Gothic" panose="020B0502020202020204" pitchFamily="34" charset="0"/>
              <a:cs typeface="Calibri" pitchFamily="34" charset="0"/>
            </a:endParaRPr>
          </a:p>
          <a:p>
            <a:r>
              <a:rPr lang="hu-HU" b="1" dirty="0">
                <a:latin typeface="Century Gothic" panose="020B0502020202020204" pitchFamily="34" charset="0"/>
                <a:cs typeface="Calibri" pitchFamily="34" charset="0"/>
              </a:rPr>
              <a:t>Pintér Lajos</a:t>
            </a:r>
          </a:p>
          <a:p>
            <a:r>
              <a:rPr lang="hu-HU" b="1" dirty="0">
                <a:latin typeface="Century Gothic" panose="020B0502020202020204" pitchFamily="34" charset="0"/>
                <a:cs typeface="Calibri" pitchFamily="34" charset="0"/>
              </a:rPr>
              <a:t>polgármester</a:t>
            </a:r>
            <a:endParaRPr lang="en-US" b="1" dirty="0">
              <a:latin typeface="Century Gothic" panose="020B0502020202020204" pitchFamily="34" charset="0"/>
              <a:cs typeface="Calibri" pitchFamily="34" charset="0"/>
            </a:endParaRPr>
          </a:p>
          <a:p>
            <a:r>
              <a:rPr lang="en-US" b="1" dirty="0">
                <a:latin typeface="Century Gothic" panose="020B0502020202020204" pitchFamily="34" charset="0"/>
                <a:cs typeface="Calibri" pitchFamily="34" charset="0"/>
              </a:rPr>
              <a:t>E</a:t>
            </a:r>
            <a:r>
              <a:rPr lang="hu-HU" b="1" dirty="0">
                <a:latin typeface="Century Gothic" panose="020B0502020202020204" pitchFamily="34" charset="0"/>
                <a:cs typeface="Calibri" pitchFamily="34" charset="0"/>
              </a:rPr>
              <a:t>-</a:t>
            </a:r>
            <a:r>
              <a:rPr lang="en-US" b="1" dirty="0">
                <a:latin typeface="Century Gothic" panose="020B0502020202020204" pitchFamily="34" charset="0"/>
                <a:cs typeface="Calibri" pitchFamily="34" charset="0"/>
              </a:rPr>
              <a:t>mail:</a:t>
            </a:r>
            <a:r>
              <a:rPr lang="hu-HU" b="1" dirty="0">
                <a:latin typeface="Century Gothic" panose="020B0502020202020204" pitchFamily="34" charset="0"/>
                <a:cs typeface="Calibri" pitchFamily="34" charset="0"/>
              </a:rPr>
              <a:t> polgarmester@szada.hu</a:t>
            </a:r>
            <a:endParaRPr lang="en-US" b="1" dirty="0">
              <a:latin typeface="Century Gothic" panose="020B0502020202020204" pitchFamily="34" charset="0"/>
              <a:cs typeface="Calibri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89C7004-E2B2-4E47-821A-02F004AB69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" y="5833260"/>
            <a:ext cx="745590" cy="931881"/>
          </a:xfrm>
          <a:prstGeom prst="rect">
            <a:avLst/>
          </a:prstGeom>
          <a:effectLst>
            <a:softEdge rad="76200"/>
          </a:effectLst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FE3371C-9807-46C3-A0D5-B01227686331}"/>
              </a:ext>
            </a:extLst>
          </p:cNvPr>
          <p:cNvCxnSpPr/>
          <p:nvPr/>
        </p:nvCxnSpPr>
        <p:spPr>
          <a:xfrm>
            <a:off x="243840" y="5740400"/>
            <a:ext cx="11653520" cy="0"/>
          </a:xfrm>
          <a:prstGeom prst="line">
            <a:avLst/>
          </a:prstGeom>
          <a:ln w="41275">
            <a:solidFill>
              <a:srgbClr val="558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D5175422-F2AB-41F7-9A26-197EFA0B487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3240" y="5593001"/>
            <a:ext cx="1361440" cy="1361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6097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55B23A-0247-9572-880F-724204FF38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00A3070-58D6-1664-2E2B-F349FD9007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E5468C4-EF10-4090-A5DD-AB361CE3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E83804F4-E2FD-2A52-598E-D4DA568A62C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60325">
            <a:solidFill>
              <a:srgbClr val="558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382758-F310-CC7F-8BC3-D737312196C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" y="5833260"/>
            <a:ext cx="745590" cy="931881"/>
          </a:xfrm>
          <a:prstGeom prst="rect">
            <a:avLst/>
          </a:prstGeom>
          <a:effectLst>
            <a:softEdge rad="76200"/>
          </a:effec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F231925-8AF3-67C9-C2C2-0B2A0DE6A75B}"/>
              </a:ext>
            </a:extLst>
          </p:cNvPr>
          <p:cNvCxnSpPr/>
          <p:nvPr/>
        </p:nvCxnSpPr>
        <p:spPr>
          <a:xfrm>
            <a:off x="243840" y="5740400"/>
            <a:ext cx="11653520" cy="0"/>
          </a:xfrm>
          <a:prstGeom prst="line">
            <a:avLst/>
          </a:prstGeom>
          <a:ln w="41275">
            <a:solidFill>
              <a:srgbClr val="558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790160C3-AB36-5FB7-89F4-B99C76EF1D6C}"/>
              </a:ext>
            </a:extLst>
          </p:cNvPr>
          <p:cNvSpPr txBox="1"/>
          <p:nvPr/>
        </p:nvSpPr>
        <p:spPr>
          <a:xfrm>
            <a:off x="2414953" y="6093310"/>
            <a:ext cx="66119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800" b="1" dirty="0">
                <a:latin typeface="Century Gothic" panose="020B0502020202020204" pitchFamily="34" charset="0"/>
              </a:rPr>
              <a:t>Közmeghallgatás – 202</a:t>
            </a:r>
            <a:r>
              <a:rPr lang="hu-HU" b="1" dirty="0">
                <a:latin typeface="Century Gothic" panose="020B0502020202020204" pitchFamily="34" charset="0"/>
              </a:rPr>
              <a:t>4</a:t>
            </a:r>
            <a:r>
              <a:rPr lang="hu-HU" sz="1800" b="1" dirty="0">
                <a:latin typeface="Century Gothic" panose="020B0502020202020204" pitchFamily="34" charset="0"/>
              </a:rPr>
              <a:t>. október </a:t>
            </a:r>
            <a:r>
              <a:rPr lang="hu-HU" b="1" dirty="0">
                <a:latin typeface="Century Gothic" panose="020B0502020202020204" pitchFamily="34" charset="0"/>
              </a:rPr>
              <a:t>31</a:t>
            </a:r>
            <a:r>
              <a:rPr lang="hu-HU" sz="1800" b="1" dirty="0">
                <a:latin typeface="Century Gothic" panose="020B0502020202020204" pitchFamily="34" charset="0"/>
              </a:rPr>
              <a:t>.  </a:t>
            </a:r>
            <a:endParaRPr lang="en-US" sz="1800" b="1" dirty="0">
              <a:latin typeface="Century Gothic" panose="020B0502020202020204" pitchFamily="34" charset="0"/>
            </a:endParaRPr>
          </a:p>
        </p:txBody>
      </p:sp>
      <p:sp>
        <p:nvSpPr>
          <p:cNvPr id="63" name="Text Box 16">
            <a:extLst>
              <a:ext uri="{FF2B5EF4-FFF2-40B4-BE49-F238E27FC236}">
                <a16:creationId xmlns:a16="http://schemas.microsoft.com/office/drawing/2014/main" id="{6D267537-924D-45DC-EF3C-6AC6A56F17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3840" y="1711070"/>
            <a:ext cx="2397760" cy="56194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  <a:buClr>
                <a:schemeClr val="bg1">
                  <a:lumMod val="50000"/>
                </a:schemeClr>
              </a:buClr>
              <a:buSzPct val="50000"/>
            </a:pPr>
            <a:br>
              <a:rPr lang="hu-HU" altLang="zh-CN" sz="1400" dirty="0">
                <a:latin typeface="Century Gothic" panose="020B0502020202020204" pitchFamily="34" charset="0"/>
                <a:cs typeface="Calibri" pitchFamily="34" charset="0"/>
              </a:rPr>
            </a:br>
            <a:endParaRPr lang="en-US" altLang="zh-CN" sz="1400" dirty="0">
              <a:latin typeface="Century Gothic" panose="020B0502020202020204" pitchFamily="34" charset="0"/>
              <a:cs typeface="Calibri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4BD58748-E8ED-DB1A-5068-B4E9FE2A81C4}"/>
              </a:ext>
            </a:extLst>
          </p:cNvPr>
          <p:cNvSpPr/>
          <p:nvPr/>
        </p:nvSpPr>
        <p:spPr>
          <a:xfrm>
            <a:off x="0" y="0"/>
            <a:ext cx="12192000" cy="941255"/>
          </a:xfrm>
          <a:prstGeom prst="rect">
            <a:avLst/>
          </a:prstGeom>
          <a:solidFill>
            <a:srgbClr val="558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Dózsa György (2104) út 500m felújítása</a:t>
            </a:r>
            <a:endParaRPr lang="en-US" sz="24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0B8F4EF-1611-663C-F328-407E164771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3240" y="5593001"/>
            <a:ext cx="1361440" cy="1361440"/>
          </a:xfrm>
          <a:prstGeom prst="rect">
            <a:avLst/>
          </a:prstGeom>
        </p:spPr>
      </p:pic>
      <p:sp>
        <p:nvSpPr>
          <p:cNvPr id="5" name="Szövegdoboz 4">
            <a:extLst>
              <a:ext uri="{FF2B5EF4-FFF2-40B4-BE49-F238E27FC236}">
                <a16:creationId xmlns:a16="http://schemas.microsoft.com/office/drawing/2014/main" id="{ED69F909-C8F4-BBD9-BDE3-F33EA5F18516}"/>
              </a:ext>
            </a:extLst>
          </p:cNvPr>
          <p:cNvSpPr txBox="1"/>
          <p:nvPr/>
        </p:nvSpPr>
        <p:spPr>
          <a:xfrm>
            <a:off x="243840" y="1591303"/>
            <a:ext cx="465406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hu-HU" sz="2000" b="0" i="0" dirty="0">
                <a:solidFill>
                  <a:srgbClr val="05050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zada Nagyközség Önkormányzat és a Magyar Közút </a:t>
            </a:r>
            <a:r>
              <a:rPr lang="hu-HU" sz="2000" b="0" i="0" dirty="0" err="1">
                <a:solidFill>
                  <a:srgbClr val="05050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Zrt</a:t>
            </a:r>
            <a:r>
              <a:rPr lang="hu-HU" sz="2000" b="0" i="0" dirty="0">
                <a:solidFill>
                  <a:srgbClr val="05050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 együttműködésében megvalósuló 503 méteres beruházás</a:t>
            </a:r>
          </a:p>
          <a:p>
            <a:pPr algn="just"/>
            <a:r>
              <a:rPr lang="hu-HU" sz="2000" dirty="0">
                <a:solidFill>
                  <a:srgbClr val="050505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    </a:t>
            </a:r>
            <a:r>
              <a:rPr lang="hu-HU" sz="2000" b="0" i="0" dirty="0">
                <a:solidFill>
                  <a:srgbClr val="21212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(</a:t>
            </a:r>
            <a:r>
              <a:rPr lang="hu-HU" sz="2000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zadai</a:t>
            </a:r>
            <a:r>
              <a:rPr lang="hu-HU" sz="2000" b="0" i="0" dirty="0">
                <a:solidFill>
                  <a:srgbClr val="212121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Községi </a:t>
            </a:r>
            <a:r>
              <a:rPr lang="hu-HU" sz="2000" dirty="0">
                <a:solidFill>
                  <a:srgbClr val="050505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iac és a Dózsa </a:t>
            </a:r>
          </a:p>
          <a:p>
            <a:pPr algn="just"/>
            <a:r>
              <a:rPr lang="hu-HU" sz="2000" dirty="0">
                <a:solidFill>
                  <a:srgbClr val="050505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     György út 11. között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rgbClr val="050505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öbb ütemben tervezett beruházás első fázisa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rgbClr val="050505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023. novemberében készült el</a:t>
            </a:r>
          </a:p>
        </p:txBody>
      </p:sp>
      <p:pic>
        <p:nvPicPr>
          <p:cNvPr id="10" name="Kép 9">
            <a:extLst>
              <a:ext uri="{FF2B5EF4-FFF2-40B4-BE49-F238E27FC236}">
                <a16:creationId xmlns:a16="http://schemas.microsoft.com/office/drawing/2014/main" id="{8BB37780-5F2D-03E7-C534-340A26F34C7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7360" y="1050375"/>
            <a:ext cx="6840000" cy="45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0655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91A53B-D28B-5A22-E015-06880FC2ED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0A53090-6CAD-9D56-B08D-47BF4DDA2A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00A3070-58D6-1664-2E2B-F349FD9007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25A9AA21-4DA2-0E78-B7CE-58DD11B5C1D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60325">
            <a:solidFill>
              <a:srgbClr val="558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1B4832D-8A1C-D7AF-62F5-218C0334FC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" y="5833260"/>
            <a:ext cx="745590" cy="931881"/>
          </a:xfrm>
          <a:prstGeom prst="rect">
            <a:avLst/>
          </a:prstGeom>
          <a:effectLst>
            <a:softEdge rad="76200"/>
          </a:effec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32E8A6D-052B-456A-65FA-BF9929A5441B}"/>
              </a:ext>
            </a:extLst>
          </p:cNvPr>
          <p:cNvCxnSpPr/>
          <p:nvPr/>
        </p:nvCxnSpPr>
        <p:spPr>
          <a:xfrm>
            <a:off x="243840" y="5740400"/>
            <a:ext cx="11653520" cy="0"/>
          </a:xfrm>
          <a:prstGeom prst="line">
            <a:avLst/>
          </a:prstGeom>
          <a:ln w="41275">
            <a:solidFill>
              <a:srgbClr val="558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5E323A4A-DFC0-A3B4-BCB7-C0C24393F78C}"/>
              </a:ext>
            </a:extLst>
          </p:cNvPr>
          <p:cNvSpPr txBox="1"/>
          <p:nvPr/>
        </p:nvSpPr>
        <p:spPr>
          <a:xfrm>
            <a:off x="1140816" y="6089055"/>
            <a:ext cx="8580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800" b="1" dirty="0">
                <a:latin typeface="Century Gothic" panose="020B0502020202020204" pitchFamily="34" charset="0"/>
              </a:rPr>
              <a:t>Közmeghallgatás – 202</a:t>
            </a:r>
            <a:r>
              <a:rPr lang="hu-HU" b="1" dirty="0">
                <a:latin typeface="Century Gothic" panose="020B0502020202020204" pitchFamily="34" charset="0"/>
              </a:rPr>
              <a:t>4</a:t>
            </a:r>
            <a:r>
              <a:rPr lang="hu-HU" sz="1800" b="1" dirty="0">
                <a:latin typeface="Century Gothic" panose="020B0502020202020204" pitchFamily="34" charset="0"/>
              </a:rPr>
              <a:t>. október </a:t>
            </a:r>
            <a:r>
              <a:rPr lang="hu-HU" b="1" dirty="0">
                <a:latin typeface="Century Gothic" panose="020B0502020202020204" pitchFamily="34" charset="0"/>
              </a:rPr>
              <a:t>31</a:t>
            </a:r>
            <a:r>
              <a:rPr lang="hu-HU" sz="1800" b="1" dirty="0">
                <a:latin typeface="Century Gothic" panose="020B0502020202020204" pitchFamily="34" charset="0"/>
              </a:rPr>
              <a:t>.  </a:t>
            </a:r>
            <a:endParaRPr lang="en-US" sz="1800" b="1" dirty="0">
              <a:latin typeface="Century Gothic" panose="020B0502020202020204" pitchFamily="34" charset="0"/>
            </a:endParaRPr>
          </a:p>
        </p:txBody>
      </p:sp>
      <p:sp>
        <p:nvSpPr>
          <p:cNvPr id="63" name="Text Box 16">
            <a:extLst>
              <a:ext uri="{FF2B5EF4-FFF2-40B4-BE49-F238E27FC236}">
                <a16:creationId xmlns:a16="http://schemas.microsoft.com/office/drawing/2014/main" id="{C01DEEFF-1855-56F7-AE57-F3FF94CA53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3840" y="1711070"/>
            <a:ext cx="2397760" cy="56194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  <a:buClr>
                <a:schemeClr val="bg1">
                  <a:lumMod val="50000"/>
                </a:schemeClr>
              </a:buClr>
              <a:buSzPct val="50000"/>
            </a:pPr>
            <a:br>
              <a:rPr lang="hu-HU" altLang="zh-CN" sz="1400" dirty="0">
                <a:latin typeface="Century Gothic" panose="020B0502020202020204" pitchFamily="34" charset="0"/>
                <a:cs typeface="Calibri" pitchFamily="34" charset="0"/>
              </a:rPr>
            </a:br>
            <a:endParaRPr lang="en-US" altLang="zh-CN" sz="1400" dirty="0">
              <a:latin typeface="Century Gothic" panose="020B0502020202020204" pitchFamily="34" charset="0"/>
              <a:cs typeface="Calibri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678343A1-D2F5-7D95-703E-425DE69FDD36}"/>
              </a:ext>
            </a:extLst>
          </p:cNvPr>
          <p:cNvSpPr/>
          <p:nvPr/>
        </p:nvSpPr>
        <p:spPr>
          <a:xfrm>
            <a:off x="0" y="0"/>
            <a:ext cx="12192000" cy="941255"/>
          </a:xfrm>
          <a:prstGeom prst="rect">
            <a:avLst/>
          </a:prstGeom>
          <a:solidFill>
            <a:srgbClr val="558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Ványi Ház megvásárlása</a:t>
            </a:r>
            <a:endParaRPr lang="en-US" sz="24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2567F84-66D4-24E9-08F9-4A0DA5DD0C6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3240" y="5593001"/>
            <a:ext cx="1361440" cy="1361440"/>
          </a:xfrm>
          <a:prstGeom prst="rect">
            <a:avLst/>
          </a:prstGeom>
        </p:spPr>
      </p:pic>
      <p:sp>
        <p:nvSpPr>
          <p:cNvPr id="5" name="Szövegdoboz 4">
            <a:extLst>
              <a:ext uri="{FF2B5EF4-FFF2-40B4-BE49-F238E27FC236}">
                <a16:creationId xmlns:a16="http://schemas.microsoft.com/office/drawing/2014/main" id="{CE0D7AB4-6AA5-DA2D-B6E8-B21B2F893D17}"/>
              </a:ext>
            </a:extLst>
          </p:cNvPr>
          <p:cNvSpPr txBox="1"/>
          <p:nvPr/>
        </p:nvSpPr>
        <p:spPr>
          <a:xfrm>
            <a:off x="294640" y="2376032"/>
            <a:ext cx="4508720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Az önkormányzat megvásárolta a polgármesteri hivatal melletti, Dózsa György út 84. szám alatti ún. „Ványi házat”</a:t>
            </a:r>
            <a:endParaRPr lang="hu-HU" sz="2000" dirty="0">
              <a:solidFill>
                <a:srgbClr val="212121"/>
              </a:solidFill>
              <a:latin typeface="Roboto" panose="02000000000000000000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Az épületet a Szada Nova </a:t>
            </a:r>
            <a:r>
              <a:rPr lang="hu-HU" sz="2000" b="0" i="0" dirty="0" err="1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NKft</a:t>
            </a:r>
            <a:r>
              <a:rPr lang="hu-HU" sz="2000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. használhatja majd telephelyként</a:t>
            </a:r>
            <a:endParaRPr lang="hu-HU" sz="2000" dirty="0">
              <a:solidFill>
                <a:srgbClr val="212121"/>
              </a:solidFill>
              <a:latin typeface="Roboto" panose="02000000000000000000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rgbClr val="212121"/>
                </a:solidFill>
                <a:latin typeface="Roboto" panose="02000000000000000000" pitchFamily="2" charset="0"/>
              </a:rPr>
              <a:t>Birtokbaadás: 2024. január</a:t>
            </a:r>
            <a:endParaRPr lang="hu-HU" sz="2000" dirty="0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FB5592A5-830E-304F-AE9A-08057935E83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21"/>
          <a:stretch/>
        </p:blipFill>
        <p:spPr bwMode="auto">
          <a:xfrm>
            <a:off x="5057360" y="1570156"/>
            <a:ext cx="6840000" cy="3846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19584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267604-B38C-73C0-28C3-341BD350D2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0C64A86-969F-18D8-DF95-FD0388FDCB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6D186F-DA72-E573-AE94-23474AE23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03B88967-F519-11EA-2B96-3A7AED452A3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60325">
            <a:solidFill>
              <a:srgbClr val="558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B00A73D-C519-E915-28F3-E208AAD79F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" y="5833260"/>
            <a:ext cx="745590" cy="931881"/>
          </a:xfrm>
          <a:prstGeom prst="rect">
            <a:avLst/>
          </a:prstGeom>
          <a:effectLst>
            <a:softEdge rad="76200"/>
          </a:effec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44042A3-6166-ABA8-EDED-93FCA3AAF912}"/>
              </a:ext>
            </a:extLst>
          </p:cNvPr>
          <p:cNvCxnSpPr/>
          <p:nvPr/>
        </p:nvCxnSpPr>
        <p:spPr>
          <a:xfrm>
            <a:off x="243840" y="5740400"/>
            <a:ext cx="11653520" cy="0"/>
          </a:xfrm>
          <a:prstGeom prst="line">
            <a:avLst/>
          </a:prstGeom>
          <a:ln w="41275">
            <a:solidFill>
              <a:srgbClr val="558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E56664D8-8F31-8671-A84C-8492ABF4D113}"/>
              </a:ext>
            </a:extLst>
          </p:cNvPr>
          <p:cNvSpPr txBox="1"/>
          <p:nvPr/>
        </p:nvSpPr>
        <p:spPr>
          <a:xfrm>
            <a:off x="1805975" y="6089055"/>
            <a:ext cx="8580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800" b="1" dirty="0">
                <a:latin typeface="Century Gothic" panose="020B0502020202020204" pitchFamily="34" charset="0"/>
              </a:rPr>
              <a:t>Közmeghallgatás – 202</a:t>
            </a:r>
            <a:r>
              <a:rPr lang="hu-HU" b="1" dirty="0">
                <a:latin typeface="Century Gothic" panose="020B0502020202020204" pitchFamily="34" charset="0"/>
              </a:rPr>
              <a:t>4</a:t>
            </a:r>
            <a:r>
              <a:rPr lang="hu-HU" sz="1800" b="1" dirty="0">
                <a:latin typeface="Century Gothic" panose="020B0502020202020204" pitchFamily="34" charset="0"/>
              </a:rPr>
              <a:t>. október </a:t>
            </a:r>
            <a:r>
              <a:rPr lang="hu-HU" b="1" dirty="0">
                <a:latin typeface="Century Gothic" panose="020B0502020202020204" pitchFamily="34" charset="0"/>
              </a:rPr>
              <a:t>31</a:t>
            </a:r>
            <a:r>
              <a:rPr lang="hu-HU" sz="1800" b="1" dirty="0">
                <a:latin typeface="Century Gothic" panose="020B0502020202020204" pitchFamily="34" charset="0"/>
              </a:rPr>
              <a:t>.  </a:t>
            </a:r>
            <a:endParaRPr lang="en-US" sz="1800" b="1" dirty="0">
              <a:latin typeface="Century Gothic" panose="020B0502020202020204" pitchFamily="34" charset="0"/>
            </a:endParaRPr>
          </a:p>
        </p:txBody>
      </p:sp>
      <p:sp>
        <p:nvSpPr>
          <p:cNvPr id="63" name="Text Box 16">
            <a:extLst>
              <a:ext uri="{FF2B5EF4-FFF2-40B4-BE49-F238E27FC236}">
                <a16:creationId xmlns:a16="http://schemas.microsoft.com/office/drawing/2014/main" id="{635E34D3-30BF-0196-D1C2-F4490D9E64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3840" y="1711070"/>
            <a:ext cx="2397760" cy="56194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  <a:buClr>
                <a:schemeClr val="bg1">
                  <a:lumMod val="50000"/>
                </a:schemeClr>
              </a:buClr>
              <a:buSzPct val="50000"/>
            </a:pPr>
            <a:br>
              <a:rPr lang="hu-HU" altLang="zh-CN" sz="1400" dirty="0">
                <a:latin typeface="Century Gothic" panose="020B0502020202020204" pitchFamily="34" charset="0"/>
                <a:cs typeface="Calibri" pitchFamily="34" charset="0"/>
              </a:rPr>
            </a:br>
            <a:endParaRPr lang="en-US" altLang="zh-CN" sz="1400" dirty="0">
              <a:latin typeface="Century Gothic" panose="020B0502020202020204" pitchFamily="34" charset="0"/>
              <a:cs typeface="Calibri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EB277AD-3AC4-E6F8-C271-CF2993F66243}"/>
              </a:ext>
            </a:extLst>
          </p:cNvPr>
          <p:cNvSpPr/>
          <p:nvPr/>
        </p:nvSpPr>
        <p:spPr>
          <a:xfrm>
            <a:off x="0" y="0"/>
            <a:ext cx="12192000" cy="941255"/>
          </a:xfrm>
          <a:prstGeom prst="rect">
            <a:avLst/>
          </a:prstGeom>
          <a:solidFill>
            <a:srgbClr val="558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Új, központi játszótér átadása</a:t>
            </a:r>
            <a:endParaRPr lang="en-US" sz="24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EF99B66-96E6-2FBE-FC6B-5F097972882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3240" y="5593001"/>
            <a:ext cx="1361440" cy="1361440"/>
          </a:xfrm>
          <a:prstGeom prst="rect">
            <a:avLst/>
          </a:prstGeom>
        </p:spPr>
      </p:pic>
      <p:pic>
        <p:nvPicPr>
          <p:cNvPr id="14" name="Kép 13">
            <a:extLst>
              <a:ext uri="{FF2B5EF4-FFF2-40B4-BE49-F238E27FC236}">
                <a16:creationId xmlns:a16="http://schemas.microsoft.com/office/drawing/2014/main" id="{16EE6CEB-CBC9-BF9B-6252-B5F21B19B0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6902" y="1110404"/>
            <a:ext cx="3240000" cy="2160000"/>
          </a:xfrm>
          <a:prstGeom prst="rect">
            <a:avLst/>
          </a:prstGeom>
        </p:spPr>
      </p:pic>
      <p:pic>
        <p:nvPicPr>
          <p:cNvPr id="16" name="Kép 15">
            <a:extLst>
              <a:ext uri="{FF2B5EF4-FFF2-40B4-BE49-F238E27FC236}">
                <a16:creationId xmlns:a16="http://schemas.microsoft.com/office/drawing/2014/main" id="{4171EDBE-88A6-A47E-ED6F-87A3FB43673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6842" y="1143148"/>
            <a:ext cx="3240000" cy="2160000"/>
          </a:xfrm>
          <a:prstGeom prst="rect">
            <a:avLst/>
          </a:prstGeom>
        </p:spPr>
      </p:pic>
      <p:pic>
        <p:nvPicPr>
          <p:cNvPr id="18" name="Kép 17">
            <a:extLst>
              <a:ext uri="{FF2B5EF4-FFF2-40B4-BE49-F238E27FC236}">
                <a16:creationId xmlns:a16="http://schemas.microsoft.com/office/drawing/2014/main" id="{14D1EEE6-06E3-078A-0BFE-578331376E8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7162" y="3441774"/>
            <a:ext cx="3240000" cy="2160000"/>
          </a:xfrm>
          <a:prstGeom prst="rect">
            <a:avLst/>
          </a:prstGeom>
        </p:spPr>
      </p:pic>
      <p:pic>
        <p:nvPicPr>
          <p:cNvPr id="20" name="Kép 19">
            <a:extLst>
              <a:ext uri="{FF2B5EF4-FFF2-40B4-BE49-F238E27FC236}">
                <a16:creationId xmlns:a16="http://schemas.microsoft.com/office/drawing/2014/main" id="{3616EFE3-8498-B151-E575-9BE581F2E0D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6902" y="3441774"/>
            <a:ext cx="3240000" cy="2160000"/>
          </a:xfrm>
          <a:prstGeom prst="rect">
            <a:avLst/>
          </a:prstGeom>
        </p:spPr>
      </p:pic>
      <p:sp>
        <p:nvSpPr>
          <p:cNvPr id="21" name="Szövegdoboz 20">
            <a:extLst>
              <a:ext uri="{FF2B5EF4-FFF2-40B4-BE49-F238E27FC236}">
                <a16:creationId xmlns:a16="http://schemas.microsoft.com/office/drawing/2014/main" id="{D6B78E1D-45CC-6E6D-B240-06984C662A75}"/>
              </a:ext>
            </a:extLst>
          </p:cNvPr>
          <p:cNvSpPr txBox="1"/>
          <p:nvPr/>
        </p:nvSpPr>
        <p:spPr>
          <a:xfrm>
            <a:off x="243840" y="2613392"/>
            <a:ext cx="415294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A megépült két játszótér után már a harmadik, nagyközségünk központjában létesült közösségi té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rgbClr val="212121"/>
                </a:solidFill>
                <a:latin typeface="Roboto" panose="02000000000000000000" pitchFamily="2" charset="0"/>
              </a:rPr>
              <a:t>Átadás: 2024. április 10. </a:t>
            </a:r>
            <a:endParaRPr lang="hu-HU" sz="2000" dirty="0"/>
          </a:p>
        </p:txBody>
      </p:sp>
    </p:spTree>
    <p:extLst>
      <p:ext uri="{BB962C8B-B14F-4D97-AF65-F5344CB8AC3E}">
        <p14:creationId xmlns:p14="http://schemas.microsoft.com/office/powerpoint/2010/main" val="23251967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94E833-9ADA-C1CE-BB8D-6E97CF6B97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982C4D-6FD3-01D5-B520-37DA6E96E4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0A53090-6CAD-9D56-B08D-47BF4DDA2A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FC1F871-047B-F301-464C-EEAE5B226EE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60325">
            <a:solidFill>
              <a:srgbClr val="558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8CF1981-F111-D4A8-6D7C-BB23577E67B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" y="5833260"/>
            <a:ext cx="745590" cy="931881"/>
          </a:xfrm>
          <a:prstGeom prst="rect">
            <a:avLst/>
          </a:prstGeom>
          <a:effectLst>
            <a:softEdge rad="76200"/>
          </a:effec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8C8A7F6-5918-31B4-ED40-65F1C0BBDA1E}"/>
              </a:ext>
            </a:extLst>
          </p:cNvPr>
          <p:cNvCxnSpPr/>
          <p:nvPr/>
        </p:nvCxnSpPr>
        <p:spPr>
          <a:xfrm>
            <a:off x="243840" y="5740400"/>
            <a:ext cx="11653520" cy="0"/>
          </a:xfrm>
          <a:prstGeom prst="line">
            <a:avLst/>
          </a:prstGeom>
          <a:ln w="41275">
            <a:solidFill>
              <a:srgbClr val="558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1F9007C6-70F6-65BA-57ED-9D40AC08AC0D}"/>
              </a:ext>
            </a:extLst>
          </p:cNvPr>
          <p:cNvSpPr txBox="1"/>
          <p:nvPr/>
        </p:nvSpPr>
        <p:spPr>
          <a:xfrm>
            <a:off x="1780575" y="6114534"/>
            <a:ext cx="8580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800" b="1" dirty="0">
                <a:latin typeface="Century Gothic" panose="020B0502020202020204" pitchFamily="34" charset="0"/>
              </a:rPr>
              <a:t>Közmeghallgatás – 202</a:t>
            </a:r>
            <a:r>
              <a:rPr lang="hu-HU" b="1" dirty="0">
                <a:latin typeface="Century Gothic" panose="020B0502020202020204" pitchFamily="34" charset="0"/>
              </a:rPr>
              <a:t>4</a:t>
            </a:r>
            <a:r>
              <a:rPr lang="hu-HU" sz="1800" b="1" dirty="0">
                <a:latin typeface="Century Gothic" panose="020B0502020202020204" pitchFamily="34" charset="0"/>
              </a:rPr>
              <a:t>. október </a:t>
            </a:r>
            <a:r>
              <a:rPr lang="hu-HU" b="1" dirty="0">
                <a:latin typeface="Century Gothic" panose="020B0502020202020204" pitchFamily="34" charset="0"/>
              </a:rPr>
              <a:t>31</a:t>
            </a:r>
            <a:r>
              <a:rPr lang="hu-HU" sz="1800" b="1" dirty="0">
                <a:latin typeface="Century Gothic" panose="020B0502020202020204" pitchFamily="34" charset="0"/>
              </a:rPr>
              <a:t>.  </a:t>
            </a:r>
            <a:endParaRPr lang="en-US" sz="1800" b="1" dirty="0">
              <a:latin typeface="Century Gothic" panose="020B0502020202020204" pitchFamily="34" charset="0"/>
            </a:endParaRPr>
          </a:p>
        </p:txBody>
      </p:sp>
      <p:sp>
        <p:nvSpPr>
          <p:cNvPr id="63" name="Text Box 16">
            <a:extLst>
              <a:ext uri="{FF2B5EF4-FFF2-40B4-BE49-F238E27FC236}">
                <a16:creationId xmlns:a16="http://schemas.microsoft.com/office/drawing/2014/main" id="{486A02AE-C1D2-C326-359B-1BE357D13F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3840" y="1711070"/>
            <a:ext cx="2397760" cy="56194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  <a:buClr>
                <a:schemeClr val="bg1">
                  <a:lumMod val="50000"/>
                </a:schemeClr>
              </a:buClr>
              <a:buSzPct val="50000"/>
            </a:pPr>
            <a:br>
              <a:rPr lang="hu-HU" altLang="zh-CN" sz="1400" dirty="0">
                <a:latin typeface="Century Gothic" panose="020B0502020202020204" pitchFamily="34" charset="0"/>
                <a:cs typeface="Calibri" pitchFamily="34" charset="0"/>
              </a:rPr>
            </a:br>
            <a:endParaRPr lang="en-US" altLang="zh-CN" sz="1400" dirty="0">
              <a:latin typeface="Century Gothic" panose="020B0502020202020204" pitchFamily="34" charset="0"/>
              <a:cs typeface="Calibri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51AE05C-8E9C-067A-D493-7580E7E4501A}"/>
              </a:ext>
            </a:extLst>
          </p:cNvPr>
          <p:cNvSpPr/>
          <p:nvPr/>
        </p:nvSpPr>
        <p:spPr>
          <a:xfrm>
            <a:off x="0" y="0"/>
            <a:ext cx="12192000" cy="941255"/>
          </a:xfrm>
          <a:prstGeom prst="rect">
            <a:avLst/>
          </a:prstGeom>
          <a:solidFill>
            <a:srgbClr val="558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Csapás utca felújítása és kiszélesítése</a:t>
            </a:r>
            <a:endParaRPr lang="en-US" sz="24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EC185FE-D651-79D0-5640-7DFB9A3ABB5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3240" y="5593001"/>
            <a:ext cx="1361440" cy="1361440"/>
          </a:xfrm>
          <a:prstGeom prst="rect">
            <a:avLst/>
          </a:prstGeom>
        </p:spPr>
      </p:pic>
      <p:sp>
        <p:nvSpPr>
          <p:cNvPr id="2" name="Szövegdoboz 1">
            <a:extLst>
              <a:ext uri="{FF2B5EF4-FFF2-40B4-BE49-F238E27FC236}">
                <a16:creationId xmlns:a16="http://schemas.microsoft.com/office/drawing/2014/main" id="{F4AFA6EE-DC81-DE58-DA86-2B0A55D02CC3}"/>
              </a:ext>
            </a:extLst>
          </p:cNvPr>
          <p:cNvSpPr txBox="1"/>
          <p:nvPr/>
        </p:nvSpPr>
        <p:spPr>
          <a:xfrm>
            <a:off x="241190" y="2525219"/>
            <a:ext cx="473964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özbeszerzési beruházás, melynek értéke közel 100 millió fori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500 méter hosszú, 6 méter széles munkaterület szegéllyel, vízelvezetéssel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lkészült: 2024. május</a:t>
            </a:r>
          </a:p>
        </p:txBody>
      </p:sp>
      <p:pic>
        <p:nvPicPr>
          <p:cNvPr id="10" name="Kép 9">
            <a:extLst>
              <a:ext uri="{FF2B5EF4-FFF2-40B4-BE49-F238E27FC236}">
                <a16:creationId xmlns:a16="http://schemas.microsoft.com/office/drawing/2014/main" id="{07C59496-0011-CA65-D793-24A208A0681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2019" y="1033001"/>
            <a:ext cx="6675341" cy="45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7371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A0A62C-E94C-122A-413F-90699A58E6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6D186F-DA72-E573-AE94-23474AE239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982C4D-6FD3-01D5-B520-37DA6E96E4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667A668C-B1FC-2277-2EC3-DC431D4E2CE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60325">
            <a:solidFill>
              <a:srgbClr val="558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20FD7BA-5430-0936-F4F5-CFB6A28F17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" y="5833260"/>
            <a:ext cx="745590" cy="931881"/>
          </a:xfrm>
          <a:prstGeom prst="rect">
            <a:avLst/>
          </a:prstGeom>
          <a:effectLst>
            <a:softEdge rad="76200"/>
          </a:effec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1D1A12E-F2C1-C92D-B6F0-C984E95DEA5C}"/>
              </a:ext>
            </a:extLst>
          </p:cNvPr>
          <p:cNvCxnSpPr/>
          <p:nvPr/>
        </p:nvCxnSpPr>
        <p:spPr>
          <a:xfrm>
            <a:off x="243840" y="5740400"/>
            <a:ext cx="11653520" cy="0"/>
          </a:xfrm>
          <a:prstGeom prst="line">
            <a:avLst/>
          </a:prstGeom>
          <a:ln w="41275">
            <a:solidFill>
              <a:srgbClr val="558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87CF8367-D311-58AB-72DB-0B1ECCFD740E}"/>
              </a:ext>
            </a:extLst>
          </p:cNvPr>
          <p:cNvSpPr txBox="1"/>
          <p:nvPr/>
        </p:nvSpPr>
        <p:spPr>
          <a:xfrm>
            <a:off x="1297733" y="6157303"/>
            <a:ext cx="8580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800" b="1" dirty="0">
                <a:latin typeface="Century Gothic" panose="020B0502020202020204" pitchFamily="34" charset="0"/>
              </a:rPr>
              <a:t>Közmeghallgatás – 202</a:t>
            </a:r>
            <a:r>
              <a:rPr lang="hu-HU" b="1" dirty="0">
                <a:latin typeface="Century Gothic" panose="020B0502020202020204" pitchFamily="34" charset="0"/>
              </a:rPr>
              <a:t>4</a:t>
            </a:r>
            <a:r>
              <a:rPr lang="hu-HU" sz="1800" b="1" dirty="0">
                <a:latin typeface="Century Gothic" panose="020B0502020202020204" pitchFamily="34" charset="0"/>
              </a:rPr>
              <a:t>. október </a:t>
            </a:r>
            <a:r>
              <a:rPr lang="hu-HU" b="1" dirty="0">
                <a:latin typeface="Century Gothic" panose="020B0502020202020204" pitchFamily="34" charset="0"/>
              </a:rPr>
              <a:t>31</a:t>
            </a:r>
            <a:r>
              <a:rPr lang="hu-HU" sz="1800" b="1" dirty="0">
                <a:latin typeface="Century Gothic" panose="020B0502020202020204" pitchFamily="34" charset="0"/>
              </a:rPr>
              <a:t>.  </a:t>
            </a:r>
            <a:endParaRPr lang="en-US" sz="1800" b="1" dirty="0">
              <a:latin typeface="Century Gothic" panose="020B0502020202020204" pitchFamily="34" charset="0"/>
            </a:endParaRPr>
          </a:p>
        </p:txBody>
      </p:sp>
      <p:sp>
        <p:nvSpPr>
          <p:cNvPr id="63" name="Text Box 16">
            <a:extLst>
              <a:ext uri="{FF2B5EF4-FFF2-40B4-BE49-F238E27FC236}">
                <a16:creationId xmlns:a16="http://schemas.microsoft.com/office/drawing/2014/main" id="{12F15200-8D06-DAA5-AC7F-32C9BF0B7D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3840" y="1711070"/>
            <a:ext cx="2397760" cy="56194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  <a:buClr>
                <a:schemeClr val="bg1">
                  <a:lumMod val="50000"/>
                </a:schemeClr>
              </a:buClr>
              <a:buSzPct val="50000"/>
            </a:pPr>
            <a:br>
              <a:rPr lang="hu-HU" altLang="zh-CN" sz="1400" dirty="0">
                <a:latin typeface="Century Gothic" panose="020B0502020202020204" pitchFamily="34" charset="0"/>
                <a:cs typeface="Calibri" pitchFamily="34" charset="0"/>
              </a:rPr>
            </a:br>
            <a:endParaRPr lang="en-US" altLang="zh-CN" sz="1400" dirty="0">
              <a:latin typeface="Century Gothic" panose="020B0502020202020204" pitchFamily="34" charset="0"/>
              <a:cs typeface="Calibri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BF1393B5-61CC-5BF0-A051-B4814B09F84B}"/>
              </a:ext>
            </a:extLst>
          </p:cNvPr>
          <p:cNvSpPr/>
          <p:nvPr/>
        </p:nvSpPr>
        <p:spPr>
          <a:xfrm>
            <a:off x="0" y="0"/>
            <a:ext cx="12192000" cy="941255"/>
          </a:xfrm>
          <a:prstGeom prst="rect">
            <a:avLst/>
          </a:prstGeom>
          <a:solidFill>
            <a:srgbClr val="558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Napelemes lámpák a Fenyvesligeti úton</a:t>
            </a:r>
            <a:endParaRPr lang="en-US" sz="24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014B024-5970-39EF-F9F2-3C8250CA8C9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3240" y="5593001"/>
            <a:ext cx="1361440" cy="1361440"/>
          </a:xfrm>
          <a:prstGeom prst="rect">
            <a:avLst/>
          </a:prstGeom>
        </p:spPr>
      </p:pic>
      <p:sp>
        <p:nvSpPr>
          <p:cNvPr id="10" name="Szövegdoboz 9">
            <a:extLst>
              <a:ext uri="{FF2B5EF4-FFF2-40B4-BE49-F238E27FC236}">
                <a16:creationId xmlns:a16="http://schemas.microsoft.com/office/drawing/2014/main" id="{AECC1207-6CD0-6ECE-DE8A-5E0D94923B7F}"/>
              </a:ext>
            </a:extLst>
          </p:cNvPr>
          <p:cNvSpPr txBox="1"/>
          <p:nvPr/>
        </p:nvSpPr>
        <p:spPr>
          <a:xfrm>
            <a:off x="243840" y="2129704"/>
            <a:ext cx="5183238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b="0" i="0" dirty="0">
                <a:solidFill>
                  <a:srgbClr val="05050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6 darab közvilágítási oszlo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rgbClr val="050505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z innovatív, napelemes technikának köszönhetően hosszú távon a lámpák ára megtérül, mert </a:t>
            </a:r>
            <a:r>
              <a:rPr lang="hu-HU" sz="2000" b="0" i="0" dirty="0">
                <a:solidFill>
                  <a:srgbClr val="05050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 lámpa üzemelése további működési költségeket nem jelent a </a:t>
            </a:r>
            <a:r>
              <a:rPr lang="hu-HU" sz="2000" b="0" i="0" dirty="0" err="1">
                <a:solidFill>
                  <a:srgbClr val="05050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zadai</a:t>
            </a:r>
            <a:r>
              <a:rPr lang="hu-HU" sz="2000" b="0" i="0" dirty="0">
                <a:solidFill>
                  <a:srgbClr val="05050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adófizetők számár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rgbClr val="050505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lkészült: 2024. június</a:t>
            </a:r>
            <a:endParaRPr lang="hu-HU" sz="2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5" name="Kép 4">
            <a:extLst>
              <a:ext uri="{FF2B5EF4-FFF2-40B4-BE49-F238E27FC236}">
                <a16:creationId xmlns:a16="http://schemas.microsoft.com/office/drawing/2014/main" id="{1E63FD7F-34FF-930D-1A30-0F9271A5669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87758" y="1118691"/>
            <a:ext cx="6443562" cy="426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559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651F83-EB81-C6C2-6CBD-DF88CDDF50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CBEE66-2171-AB13-3B2C-8B127FB398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6D186F-DA72-E573-AE94-23474AE23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3465BAF0-854E-ECC4-67CC-397DF9BDA07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60325">
            <a:solidFill>
              <a:srgbClr val="558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9E5E99E-E3FE-4BCA-3491-339C52ECA8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" y="5833260"/>
            <a:ext cx="745590" cy="931881"/>
          </a:xfrm>
          <a:prstGeom prst="rect">
            <a:avLst/>
          </a:prstGeom>
          <a:effectLst>
            <a:softEdge rad="76200"/>
          </a:effec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FD9D36E-8019-43BA-8B93-5C0450F2DD87}"/>
              </a:ext>
            </a:extLst>
          </p:cNvPr>
          <p:cNvCxnSpPr/>
          <p:nvPr/>
        </p:nvCxnSpPr>
        <p:spPr>
          <a:xfrm>
            <a:off x="243840" y="5740400"/>
            <a:ext cx="11653520" cy="0"/>
          </a:xfrm>
          <a:prstGeom prst="line">
            <a:avLst/>
          </a:prstGeom>
          <a:ln w="41275">
            <a:solidFill>
              <a:srgbClr val="558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535BA643-3578-BD1E-F23D-38524876DA00}"/>
              </a:ext>
            </a:extLst>
          </p:cNvPr>
          <p:cNvSpPr txBox="1"/>
          <p:nvPr/>
        </p:nvSpPr>
        <p:spPr>
          <a:xfrm>
            <a:off x="446817" y="6093310"/>
            <a:ext cx="8580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800" b="1" dirty="0">
                <a:latin typeface="Century Gothic" panose="020B0502020202020204" pitchFamily="34" charset="0"/>
              </a:rPr>
              <a:t>Közmeghallgatás – 202</a:t>
            </a:r>
            <a:r>
              <a:rPr lang="hu-HU" b="1" dirty="0">
                <a:latin typeface="Century Gothic" panose="020B0502020202020204" pitchFamily="34" charset="0"/>
              </a:rPr>
              <a:t>4</a:t>
            </a:r>
            <a:r>
              <a:rPr lang="hu-HU" sz="1800" b="1" dirty="0">
                <a:latin typeface="Century Gothic" panose="020B0502020202020204" pitchFamily="34" charset="0"/>
              </a:rPr>
              <a:t>. október </a:t>
            </a:r>
            <a:r>
              <a:rPr lang="hu-HU" b="1" dirty="0">
                <a:latin typeface="Century Gothic" panose="020B0502020202020204" pitchFamily="34" charset="0"/>
              </a:rPr>
              <a:t>31</a:t>
            </a:r>
            <a:r>
              <a:rPr lang="hu-HU" sz="1800" b="1" dirty="0">
                <a:latin typeface="Century Gothic" panose="020B0502020202020204" pitchFamily="34" charset="0"/>
              </a:rPr>
              <a:t>.  </a:t>
            </a:r>
            <a:endParaRPr lang="en-US" sz="1800" b="1" dirty="0">
              <a:latin typeface="Century Gothic" panose="020B0502020202020204" pitchFamily="34" charset="0"/>
            </a:endParaRPr>
          </a:p>
        </p:txBody>
      </p:sp>
      <p:sp>
        <p:nvSpPr>
          <p:cNvPr id="63" name="Text Box 16">
            <a:extLst>
              <a:ext uri="{FF2B5EF4-FFF2-40B4-BE49-F238E27FC236}">
                <a16:creationId xmlns:a16="http://schemas.microsoft.com/office/drawing/2014/main" id="{3ECB05A7-DF75-3C39-D44A-AAD2D6A431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3840" y="1711070"/>
            <a:ext cx="2397760" cy="56194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  <a:buClr>
                <a:schemeClr val="bg1">
                  <a:lumMod val="50000"/>
                </a:schemeClr>
              </a:buClr>
              <a:buSzPct val="50000"/>
            </a:pPr>
            <a:br>
              <a:rPr lang="hu-HU" altLang="zh-CN" sz="1400" dirty="0">
                <a:latin typeface="Century Gothic" panose="020B0502020202020204" pitchFamily="34" charset="0"/>
                <a:cs typeface="Calibri" pitchFamily="34" charset="0"/>
              </a:rPr>
            </a:br>
            <a:endParaRPr lang="en-US" altLang="zh-CN" sz="1400" dirty="0">
              <a:latin typeface="Century Gothic" panose="020B0502020202020204" pitchFamily="34" charset="0"/>
              <a:cs typeface="Calibri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4EAB522D-3292-A905-68CE-F912F1370B9E}"/>
              </a:ext>
            </a:extLst>
          </p:cNvPr>
          <p:cNvSpPr/>
          <p:nvPr/>
        </p:nvSpPr>
        <p:spPr>
          <a:xfrm>
            <a:off x="0" y="0"/>
            <a:ext cx="12192000" cy="941255"/>
          </a:xfrm>
          <a:prstGeom prst="rect">
            <a:avLst/>
          </a:prstGeom>
          <a:solidFill>
            <a:srgbClr val="558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Dózsa György (2104) út újabb 700 m felújítása</a:t>
            </a:r>
            <a:endParaRPr lang="en-US" sz="24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F306CD5-78C7-2617-39DF-31A2D2FA7CD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3240" y="5593001"/>
            <a:ext cx="1361440" cy="1361440"/>
          </a:xfrm>
          <a:prstGeom prst="rect">
            <a:avLst/>
          </a:prstGeom>
        </p:spPr>
      </p:pic>
      <p:sp>
        <p:nvSpPr>
          <p:cNvPr id="10" name="Szövegdoboz 9">
            <a:extLst>
              <a:ext uri="{FF2B5EF4-FFF2-40B4-BE49-F238E27FC236}">
                <a16:creationId xmlns:a16="http://schemas.microsoft.com/office/drawing/2014/main" id="{5BDEAC09-8747-D1B6-1899-E0A2BDCF3974}"/>
              </a:ext>
            </a:extLst>
          </p:cNvPr>
          <p:cNvSpPr txBox="1"/>
          <p:nvPr/>
        </p:nvSpPr>
        <p:spPr>
          <a:xfrm>
            <a:off x="243840" y="2129704"/>
            <a:ext cx="5183238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b="0" i="0" dirty="0">
                <a:solidFill>
                  <a:srgbClr val="05050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 Dózsa György </a:t>
            </a:r>
            <a:r>
              <a:rPr lang="hu-HU" sz="2000" dirty="0">
                <a:solidFill>
                  <a:srgbClr val="050505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elújításának második ütem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b="0" i="0" dirty="0">
                <a:solidFill>
                  <a:srgbClr val="050505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özel 700 méteres beruházás a Buckai utca és a Székely Bertalan út közöt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rgbClr val="050505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lkészült: 2024. október</a:t>
            </a:r>
            <a:endParaRPr lang="hu-HU" sz="2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2050" name="Picture 2" descr="Lehet, hogy egy kép erről: 1 személy, utca és szöveg">
            <a:extLst>
              <a:ext uri="{FF2B5EF4-FFF2-40B4-BE49-F238E27FC236}">
                <a16:creationId xmlns:a16="http://schemas.microsoft.com/office/drawing/2014/main" id="{AB6108F8-3DD2-662A-C086-6F6866DCC7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4680" y="1034409"/>
            <a:ext cx="6840000" cy="4558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76336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C2D84E-3CCB-5297-2336-36AF92A251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A1B1E5-4C8A-A664-AE30-9805BDA16F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CBEE66-2171-AB13-3B2C-8B127FB398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89C9C6AC-2B4E-E04D-17A1-511F28693D6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60325">
            <a:solidFill>
              <a:srgbClr val="558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AEDB903-F680-5E0A-7E8F-B278AAACEF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" y="5833260"/>
            <a:ext cx="745590" cy="931881"/>
          </a:xfrm>
          <a:prstGeom prst="rect">
            <a:avLst/>
          </a:prstGeom>
          <a:effectLst>
            <a:softEdge rad="76200"/>
          </a:effec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164D037-0D65-BE2E-002A-4F9185AA43E5}"/>
              </a:ext>
            </a:extLst>
          </p:cNvPr>
          <p:cNvCxnSpPr/>
          <p:nvPr/>
        </p:nvCxnSpPr>
        <p:spPr>
          <a:xfrm>
            <a:off x="243840" y="5740400"/>
            <a:ext cx="11653520" cy="0"/>
          </a:xfrm>
          <a:prstGeom prst="line">
            <a:avLst/>
          </a:prstGeom>
          <a:ln w="41275">
            <a:solidFill>
              <a:srgbClr val="558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8706EAFA-311C-5404-02F2-7F9DDF1C3FD9}"/>
              </a:ext>
            </a:extLst>
          </p:cNvPr>
          <p:cNvSpPr txBox="1"/>
          <p:nvPr/>
        </p:nvSpPr>
        <p:spPr>
          <a:xfrm>
            <a:off x="446817" y="6093310"/>
            <a:ext cx="8580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800" b="1" dirty="0">
                <a:latin typeface="Century Gothic" panose="020B0502020202020204" pitchFamily="34" charset="0"/>
              </a:rPr>
              <a:t>Közmeghallgatás – 202</a:t>
            </a:r>
            <a:r>
              <a:rPr lang="hu-HU" b="1" dirty="0">
                <a:latin typeface="Century Gothic" panose="020B0502020202020204" pitchFamily="34" charset="0"/>
              </a:rPr>
              <a:t>4</a:t>
            </a:r>
            <a:r>
              <a:rPr lang="hu-HU" sz="1800" b="1" dirty="0">
                <a:latin typeface="Century Gothic" panose="020B0502020202020204" pitchFamily="34" charset="0"/>
              </a:rPr>
              <a:t>. október </a:t>
            </a:r>
            <a:r>
              <a:rPr lang="hu-HU" b="1" dirty="0">
                <a:latin typeface="Century Gothic" panose="020B0502020202020204" pitchFamily="34" charset="0"/>
              </a:rPr>
              <a:t>31</a:t>
            </a:r>
            <a:r>
              <a:rPr lang="hu-HU" sz="1800" b="1" dirty="0">
                <a:latin typeface="Century Gothic" panose="020B0502020202020204" pitchFamily="34" charset="0"/>
              </a:rPr>
              <a:t>.  </a:t>
            </a:r>
            <a:endParaRPr lang="en-US" sz="1800" b="1" dirty="0">
              <a:latin typeface="Century Gothic" panose="020B0502020202020204" pitchFamily="34" charset="0"/>
            </a:endParaRPr>
          </a:p>
        </p:txBody>
      </p:sp>
      <p:sp>
        <p:nvSpPr>
          <p:cNvPr id="63" name="Text Box 16">
            <a:extLst>
              <a:ext uri="{FF2B5EF4-FFF2-40B4-BE49-F238E27FC236}">
                <a16:creationId xmlns:a16="http://schemas.microsoft.com/office/drawing/2014/main" id="{39FD13C3-C586-8FAA-2C72-702979B96A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3840" y="1711070"/>
            <a:ext cx="2397760" cy="56194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  <a:buClr>
                <a:schemeClr val="bg1">
                  <a:lumMod val="50000"/>
                </a:schemeClr>
              </a:buClr>
              <a:buSzPct val="50000"/>
            </a:pPr>
            <a:br>
              <a:rPr lang="hu-HU" altLang="zh-CN" sz="1400" dirty="0">
                <a:latin typeface="Century Gothic" panose="020B0502020202020204" pitchFamily="34" charset="0"/>
                <a:cs typeface="Calibri" pitchFamily="34" charset="0"/>
              </a:rPr>
            </a:br>
            <a:endParaRPr lang="en-US" altLang="zh-CN" sz="1400" dirty="0">
              <a:latin typeface="Century Gothic" panose="020B0502020202020204" pitchFamily="34" charset="0"/>
              <a:cs typeface="Calibri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97E5136B-B4F3-8E17-7BC2-03E89FDD0CB1}"/>
              </a:ext>
            </a:extLst>
          </p:cNvPr>
          <p:cNvSpPr/>
          <p:nvPr/>
        </p:nvSpPr>
        <p:spPr>
          <a:xfrm>
            <a:off x="0" y="0"/>
            <a:ext cx="12192000" cy="941255"/>
          </a:xfrm>
          <a:prstGeom prst="rect">
            <a:avLst/>
          </a:prstGeom>
          <a:solidFill>
            <a:srgbClr val="558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Napsugár baptista bölcsőde átadása</a:t>
            </a:r>
            <a:endParaRPr lang="en-US" sz="24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C44648B-42DC-2F0C-FDF7-25CDF777018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3240" y="5593001"/>
            <a:ext cx="1361440" cy="1361440"/>
          </a:xfrm>
          <a:prstGeom prst="rect">
            <a:avLst/>
          </a:prstGeom>
        </p:spPr>
      </p:pic>
      <p:sp>
        <p:nvSpPr>
          <p:cNvPr id="10" name="Szövegdoboz 9">
            <a:extLst>
              <a:ext uri="{FF2B5EF4-FFF2-40B4-BE49-F238E27FC236}">
                <a16:creationId xmlns:a16="http://schemas.microsoft.com/office/drawing/2014/main" id="{D3BCC6D9-1572-4672-A7AA-B5EC6FB5ECDC}"/>
              </a:ext>
            </a:extLst>
          </p:cNvPr>
          <p:cNvSpPr txBox="1"/>
          <p:nvPr/>
        </p:nvSpPr>
        <p:spPr>
          <a:xfrm>
            <a:off x="243840" y="2129704"/>
            <a:ext cx="5183238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 28 férőhelyes intézmény szeptemberben kezdte meg működésé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TESZ és az önkormányzat közötti kiváló kapcsolatnak is az eredmény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 dinamikusan növekvő gyermeklétszám miatt óriási szükség van ezekre a létesítményekre</a:t>
            </a:r>
          </a:p>
        </p:txBody>
      </p:sp>
      <p:pic>
        <p:nvPicPr>
          <p:cNvPr id="1026" name="Picture 2" descr="Dsc 5278v">
            <a:extLst>
              <a:ext uri="{FF2B5EF4-FFF2-40B4-BE49-F238E27FC236}">
                <a16:creationId xmlns:a16="http://schemas.microsoft.com/office/drawing/2014/main" id="{22DB641D-913A-2364-F7E4-556E63B885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4439" y="1117599"/>
            <a:ext cx="5602921" cy="4342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98469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E5468C4-EF10-4090-A5DD-AB361CE35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E5468C4-EF10-4090-A5DD-AB361CE35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26EA90A2-F73B-4AF5-BD36-3F185DE8579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60325">
            <a:solidFill>
              <a:srgbClr val="558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60A292A-B027-4D5E-9DFA-801E86D845E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" y="5833260"/>
            <a:ext cx="745590" cy="931881"/>
          </a:xfrm>
          <a:prstGeom prst="rect">
            <a:avLst/>
          </a:prstGeom>
          <a:effectLst>
            <a:softEdge rad="76200"/>
          </a:effec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35BD8A2-E8B1-44D8-BAFA-0C8228E90261}"/>
              </a:ext>
            </a:extLst>
          </p:cNvPr>
          <p:cNvCxnSpPr/>
          <p:nvPr/>
        </p:nvCxnSpPr>
        <p:spPr>
          <a:xfrm>
            <a:off x="243840" y="5740400"/>
            <a:ext cx="11653520" cy="0"/>
          </a:xfrm>
          <a:prstGeom prst="line">
            <a:avLst/>
          </a:prstGeom>
          <a:ln w="41275">
            <a:solidFill>
              <a:srgbClr val="558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3AB93809-9BB0-45AE-90D4-05EB7AE6F4BB}"/>
              </a:ext>
            </a:extLst>
          </p:cNvPr>
          <p:cNvSpPr txBox="1"/>
          <p:nvPr/>
        </p:nvSpPr>
        <p:spPr>
          <a:xfrm>
            <a:off x="1269847" y="6114534"/>
            <a:ext cx="8580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800" b="1" dirty="0">
                <a:latin typeface="Century Gothic" panose="020B0502020202020204" pitchFamily="34" charset="0"/>
              </a:rPr>
              <a:t>Közmeghallgatás – 2024. október </a:t>
            </a:r>
            <a:r>
              <a:rPr lang="hu-HU" b="1" dirty="0">
                <a:latin typeface="Century Gothic" panose="020B0502020202020204" pitchFamily="34" charset="0"/>
              </a:rPr>
              <a:t>31</a:t>
            </a:r>
            <a:r>
              <a:rPr lang="hu-HU" sz="1800" b="1" dirty="0">
                <a:latin typeface="Century Gothic" panose="020B0502020202020204" pitchFamily="34" charset="0"/>
              </a:rPr>
              <a:t>.  </a:t>
            </a:r>
            <a:endParaRPr lang="en-US" sz="1800" b="1" dirty="0">
              <a:latin typeface="Century Gothic" panose="020B0502020202020204" pitchFamily="34" charset="0"/>
            </a:endParaRPr>
          </a:p>
        </p:txBody>
      </p:sp>
      <p:sp>
        <p:nvSpPr>
          <p:cNvPr id="63" name="Text Box 16">
            <a:extLst>
              <a:ext uri="{FF2B5EF4-FFF2-40B4-BE49-F238E27FC236}">
                <a16:creationId xmlns:a16="http://schemas.microsoft.com/office/drawing/2014/main" id="{FFBCD975-FAD8-41EA-AE9A-0B90615570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3840" y="1711070"/>
            <a:ext cx="2397760" cy="56194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  <a:buClr>
                <a:schemeClr val="bg1">
                  <a:lumMod val="50000"/>
                </a:schemeClr>
              </a:buClr>
              <a:buSzPct val="50000"/>
            </a:pPr>
            <a:br>
              <a:rPr lang="hu-HU" altLang="zh-CN" sz="1400" dirty="0">
                <a:latin typeface="Century Gothic" panose="020B0502020202020204" pitchFamily="34" charset="0"/>
                <a:cs typeface="Calibri" pitchFamily="34" charset="0"/>
              </a:rPr>
            </a:br>
            <a:endParaRPr lang="en-US" altLang="zh-CN" sz="1400" dirty="0">
              <a:latin typeface="Century Gothic" panose="020B0502020202020204" pitchFamily="34" charset="0"/>
              <a:cs typeface="Calibri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00C8DB8-EF50-42C4-8D5D-7D472F509B04}"/>
              </a:ext>
            </a:extLst>
          </p:cNvPr>
          <p:cNvSpPr/>
          <p:nvPr/>
        </p:nvSpPr>
        <p:spPr>
          <a:xfrm>
            <a:off x="0" y="0"/>
            <a:ext cx="12192000" cy="941255"/>
          </a:xfrm>
          <a:prstGeom prst="rect">
            <a:avLst/>
          </a:prstGeom>
          <a:solidFill>
            <a:srgbClr val="558B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Folyamatban lévő beruházások és fejlesztések</a:t>
            </a:r>
            <a:endParaRPr lang="en-US" sz="24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04D9E9-0F86-4778-B4E8-CF00BE18BDA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3240" y="5593001"/>
            <a:ext cx="1361440" cy="1361440"/>
          </a:xfrm>
          <a:prstGeom prst="rect">
            <a:avLst/>
          </a:prstGeom>
        </p:spPr>
      </p:pic>
      <p:sp>
        <p:nvSpPr>
          <p:cNvPr id="2" name="Szövegdoboz 1">
            <a:extLst>
              <a:ext uri="{FF2B5EF4-FFF2-40B4-BE49-F238E27FC236}">
                <a16:creationId xmlns:a16="http://schemas.microsoft.com/office/drawing/2014/main" id="{61FC8C05-06E9-19DE-E65D-A825C69E8325}"/>
              </a:ext>
            </a:extLst>
          </p:cNvPr>
          <p:cNvSpPr txBox="1"/>
          <p:nvPr/>
        </p:nvSpPr>
        <p:spPr>
          <a:xfrm>
            <a:off x="390831" y="1227776"/>
            <a:ext cx="5169041" cy="4370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hu-HU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Járda Veresegyház és Szada között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hu-HU" sz="2000" b="0" i="0" dirty="0">
              <a:solidFill>
                <a:srgbClr val="212121"/>
              </a:solidFill>
              <a:effectLst/>
              <a:latin typeface="Roboto" panose="02000000000000000000" pitchFamily="2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hu-HU" sz="2000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Veresegyház közigazgatási határától a Ványi Tüzépig tartó közel 400 méteres szakaszon 3,5 méter széles biztonságos gyalogos közlekedést biztosító járda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rgbClr val="212121"/>
                </a:solidFill>
                <a:latin typeface="Roboto" panose="02000000000000000000" pitchFamily="2" charset="0"/>
              </a:rPr>
              <a:t>A projekt c</a:t>
            </a:r>
            <a:r>
              <a:rPr lang="hu-HU" sz="2000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sapadékvíz elvezetési feladatokat és keresztmetszeti kialakítást is magában foglal</a:t>
            </a:r>
            <a:endParaRPr lang="hu-HU" sz="2000" dirty="0">
              <a:solidFill>
                <a:srgbClr val="212121"/>
              </a:solidFill>
              <a:latin typeface="Roboto" panose="02000000000000000000" pitchFamily="2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hu-HU" sz="2000" b="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A beruházás értéke </a:t>
            </a:r>
            <a:r>
              <a:rPr lang="hu-HU" sz="200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közel 100 </a:t>
            </a:r>
            <a:r>
              <a:rPr lang="hu-HU" sz="2000" i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millió forint</a:t>
            </a:r>
            <a:endParaRPr lang="hu-HU" sz="2000" dirty="0">
              <a:solidFill>
                <a:srgbClr val="212121"/>
              </a:solidFill>
              <a:latin typeface="Roboto" panose="02000000000000000000" pitchFamily="2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hu-HU" sz="2000" i="0" dirty="0">
                <a:solidFill>
                  <a:srgbClr val="212121"/>
                </a:solidFill>
                <a:effectLst/>
                <a:latin typeface="Roboto" panose="02000000000000000000" pitchFamily="2" charset="0"/>
              </a:rPr>
              <a:t>A kivitelezés elkezdődött, várható befejezése 2024. december közepe</a:t>
            </a:r>
          </a:p>
          <a:p>
            <a:pPr algn="just"/>
            <a:endParaRPr lang="hu-HU" b="0" i="0" dirty="0">
              <a:solidFill>
                <a:srgbClr val="212121"/>
              </a:solidFill>
              <a:effectLst/>
              <a:latin typeface="Roboto" panose="02000000000000000000" pitchFamily="2" charset="0"/>
            </a:endParaRPr>
          </a:p>
        </p:txBody>
      </p:sp>
      <p:pic>
        <p:nvPicPr>
          <p:cNvPr id="1026" name="Picture 2" descr="Lehet, hogy egy kép erről: 4 ember">
            <a:extLst>
              <a:ext uri="{FF2B5EF4-FFF2-40B4-BE49-F238E27FC236}">
                <a16:creationId xmlns:a16="http://schemas.microsoft.com/office/drawing/2014/main" id="{273247B7-D872-A3FB-7690-3D3C2CB889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7192" y="1237439"/>
            <a:ext cx="6190168" cy="4125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86617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886</TotalTime>
  <Words>757</Words>
  <Application>Microsoft Office PowerPoint</Application>
  <PresentationFormat>Szélesvásznú</PresentationFormat>
  <Paragraphs>148</Paragraphs>
  <Slides>17</Slides>
  <Notes>16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6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7</vt:i4>
      </vt:variant>
    </vt:vector>
  </HeadingPairs>
  <TitlesOfParts>
    <vt:vector size="25" baseType="lpstr">
      <vt:lpstr>Arial</vt:lpstr>
      <vt:lpstr>Calibri</vt:lpstr>
      <vt:lpstr>Calibri Light</vt:lpstr>
      <vt:lpstr>Century Gothic</vt:lpstr>
      <vt:lpstr>Roboto</vt:lpstr>
      <vt:lpstr>Symbol</vt:lpstr>
      <vt:lpstr>Office Theme</vt:lpstr>
      <vt:lpstr>think-cell Slide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 A</dc:creator>
  <cp:lastModifiedBy>Deák Emese</cp:lastModifiedBy>
  <cp:revision>116</cp:revision>
  <cp:lastPrinted>2023-10-09T08:52:15Z</cp:lastPrinted>
  <dcterms:created xsi:type="dcterms:W3CDTF">2021-07-05T19:37:29Z</dcterms:created>
  <dcterms:modified xsi:type="dcterms:W3CDTF">2024-10-31T14:49:40Z</dcterms:modified>
</cp:coreProperties>
</file>